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21A815D3-8027-4C1F-B16A-45B3CE4A22F7}">
          <p14:sldIdLst>
            <p14:sldId id="2147475169"/>
            <p14:sldId id="2147475170"/>
            <p14:sldId id="2147475171"/>
            <p14:sldId id="2147475172"/>
            <p14:sldId id="2147475173"/>
          </p14:sldIdLst>
        </p14:section>
        <p14:section name="Mix Analysis by Retailer for Market" id="{45693845-2CF6-4B4A-B8E4-D99F86C21C9C}">
          <p14:sldIdLst>
            <p14:sldId id="2147475174"/>
            <p14:sldId id="2147475175"/>
            <p14:sldId id="2147475176"/>
            <p14:sldId id="2147475177"/>
            <p14:sldId id="2147475178"/>
          </p14:sldIdLst>
        </p14:section>
        <p14:section name="Mix Analysis by Sector" id="{BA7B95D8-205D-4B24-B82E-5CDECD8638C2}">
          <p14:sldIdLst>
            <p14:sldId id="2147475179"/>
            <p14:sldId id="2147475180"/>
            <p14:sldId id="2147475181"/>
            <p14:sldId id="2147475182"/>
          </p14:sldIdLst>
        </p14:section>
        <p14:section name="Mix Analysis by Segment" id="{364FFEEE-3449-4AE2-9930-CFA06AEDE46D}">
          <p14:sldIdLst>
            <p14:sldId id="2147475183"/>
            <p14:sldId id="2147475184"/>
            <p14:sldId id="2147475185"/>
            <p14:sldId id="2147475186"/>
          </p14:sldIdLst>
        </p14:section>
        <p14:section name="Mix Analysis bySKU" id="{6393A924-17BF-407E-B067-217259858912}">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97"/>
    <a:srgbClr val="C00000"/>
    <a:srgbClr val="7DC9C4"/>
    <a:srgbClr val="006C6D"/>
    <a:srgbClr val="7ECAC4"/>
    <a:srgbClr val="FF8080"/>
    <a:srgbClr val="8DCFCA"/>
    <a:srgbClr val="A6DAD6"/>
    <a:srgbClr val="B2DFDC"/>
    <a:srgbClr val="43A3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F1E553A-F9EC-4849-876D-57824B674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3153AEB-0456-4638-AF53-F81E97EBF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D48E756C-0988-4497-A4AF-CCA3A05E4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04150ECF-0843-40BE-BF4B-DE861E279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E60AFCE9-3494-42BC-8038-2856AB6C6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B7C64BF-25F6-4AEE-BBD7-7452C6CB8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E601084-B1BF-40D5-A2CB-D6DA9E140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A7048AF-FD22-4432-96D9-F76994ECC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248</c:v>
                </c:pt>
              </c:numCache>
            </c:numRef>
          </c:xVal>
          <c:yVal>
            <c:numRef>
              <c:f>Sheet1!$B$2:$B$2</c:f>
              <c:numCache>
                <c:formatCode>General</c:formatCode>
                <c:ptCount val="1"/>
                <c:pt idx="0">
                  <c:v>0.65490000000000004</c:v>
                </c:pt>
              </c:numCache>
            </c:numRef>
          </c:yVal>
          <c:bubbleSize>
            <c:numRef>
              <c:f>Sheet1!$C$2:$C$2</c:f>
              <c:numCache>
                <c:formatCode>General</c:formatCode>
                <c:ptCount val="1"/>
                <c:pt idx="0">
                  <c:v>5594958.6237000041</c:v>
                </c:pt>
              </c:numCache>
            </c:numRef>
          </c:bubbleSize>
          <c:bubble3D val="0"/>
          <c:extLst>
            <c:ext xmlns:c15="http://schemas.microsoft.com/office/drawing/2012/chart" uri="{02D57815-91ED-43cb-92C2-25804820EDAC}">
              <c15:datalabelsRange>
                <c15:f>Sheet1!$E$2:$E$29</c15:f>
                <c15:dlblRangeCache>
                  <c:ptCount val="28"/>
                  <c:pt idx="0">
                    <c:v>Walmar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0000000000004"/>
        <c:crossBetween val="midCat"/>
      </c:valAx>
      <c:valAx>
        <c:axId val="1011451359"/>
        <c:scaling>
          <c:orientation val="minMax"/>
          <c:max val="1.14588"/>
          <c:min val="0.2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EBB44A3-9445-4F92-9A4B-74A018C48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DDEA0BF-4428-4AB1-A7F9-F3A4A9D02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786A4E1-5A02-46E5-85E0-5E1D70C55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8EBA46-15B7-427E-AE36-C1A99A958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EAFAAF85-EDA2-49F0-8F99-CE082CDC6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0C96674-2FC5-4C8B-BD39-2A0B712EC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EF5499D-2791-4C49-8E4E-3668F206E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053F6B74-3461-4067-8ED3-F5E3CC662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2.1585999999999999</c:v>
                </c:pt>
                <c:pt idx="2">
                  <c:v>2.1591999999999998</c:v>
                </c:pt>
              </c:numCache>
            </c:numRef>
          </c:xVal>
          <c:yVal>
            <c:numRef>
              <c:f>Sheet1!$B$2:$B$4</c:f>
              <c:numCache>
                <c:formatCode>General</c:formatCode>
                <c:ptCount val="3"/>
                <c:pt idx="0">
                  <c:v>0.4199</c:v>
                </c:pt>
                <c:pt idx="1">
                  <c:v>0.41949999999999998</c:v>
                </c:pt>
                <c:pt idx="2">
                  <c:v>0.41980000000000001</c:v>
                </c:pt>
              </c:numCache>
            </c:numRef>
          </c:yVal>
          <c:bubbleSize>
            <c:numRef>
              <c:f>Sheet1!$C$2:$C$4</c:f>
              <c:numCache>
                <c:formatCode>General</c:formatCode>
                <c:ptCount val="3"/>
                <c:pt idx="0">
                  <c:v>89489.170400000003</c:v>
                </c:pt>
                <c:pt idx="1">
                  <c:v>78650.092899999989</c:v>
                </c:pt>
                <c:pt idx="2">
                  <c:v>1046552.1158</c:v>
                </c:pt>
              </c:numCache>
            </c:numRef>
          </c:bubbleSize>
          <c:bubble3D val="0"/>
          <c:extLst>
            <c:ext xmlns:c15="http://schemas.microsoft.com/office/drawing/2012/chart" uri="{02D57815-91ED-43cb-92C2-25804820EDAC}">
              <c15:datalabelsRange>
                <c15:f>Sheet1!$E$2:$E$29</c15:f>
                <c15:dlblRangeCache>
                  <c:ptCount val="28"/>
                  <c:pt idx="0">
                    <c:v>Walmart Nm Corp</c:v>
                  </c:pt>
                  <c:pt idx="1">
                    <c:v>Walmart Div1 Corp</c:v>
                  </c:pt>
                  <c:pt idx="2">
                    <c:v>Walmart Sc Cor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78794252508744"/>
        <c:crossBetween val="midCat"/>
      </c:valAx>
      <c:valAx>
        <c:axId val="1011451359"/>
        <c:scaling>
          <c:orientation val="minMax"/>
          <c:max val="0.86387999999999998"/>
          <c:min val="9.560000000000000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3904887436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CBBBB"/>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82FE250-3F67-42D7-9270-300F0AE17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A26D059-9982-409E-8BC3-C5C2C8927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761D6E2-A7DF-4178-800D-B0FA4329E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8BDD255F-3BAB-4509-BC3A-2334B8FB9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152B4E67-376B-462E-845D-EEBBDC781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A212EF8D-DB67-4E8A-BB75-DAA259403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F50A55C-ED9E-4B9A-9FD0-276A471E9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0E78643-0B77-45A3-90B7-A1BF3298A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6750000000000002</c:v>
                </c:pt>
                <c:pt idx="1">
                  <c:v>1.3365</c:v>
                </c:pt>
              </c:numCache>
            </c:numRef>
          </c:xVal>
          <c:yVal>
            <c:numRef>
              <c:f>Sheet1!$B$2:$B$3</c:f>
              <c:numCache>
                <c:formatCode>General</c:formatCode>
                <c:ptCount val="2"/>
                <c:pt idx="0">
                  <c:v>0.33879999999999999</c:v>
                </c:pt>
                <c:pt idx="1">
                  <c:v>0.65110000000000001</c:v>
                </c:pt>
              </c:numCache>
            </c:numRef>
          </c:yVal>
          <c:bubbleSize>
            <c:numRef>
              <c:f>Sheet1!$C$2:$C$3</c:f>
              <c:numCache>
                <c:formatCode>General</c:formatCode>
                <c:ptCount val="2"/>
                <c:pt idx="0">
                  <c:v>912079.55159999989</c:v>
                </c:pt>
                <c:pt idx="1">
                  <c:v>386945.97839999991</c:v>
                </c:pt>
              </c:numCache>
            </c:numRef>
          </c:bubbleSize>
          <c:bubble3D val="0"/>
          <c:extLst>
            <c:ext xmlns:c15="http://schemas.microsoft.com/office/drawing/2012/chart" uri="{02D57815-91ED-43cb-92C2-25804820EDAC}">
              <c15:datalabelsRange>
                <c15:f>Sheet1!$E$2:$E$29</c15:f>
                <c15:dlblRangeCache>
                  <c:ptCount val="28"/>
                  <c:pt idx="0">
                    <c:v>Disposables</c:v>
                  </c:pt>
                  <c:pt idx="1">
                    <c:v>System</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2606166202131"/>
        <c:crossBetween val="midCat"/>
      </c:valAx>
      <c:valAx>
        <c:axId val="1011451359"/>
        <c:scaling>
          <c:orientation val="minMax"/>
          <c:max val="1.1413200000000001"/>
          <c:min val="3.1040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59273452343927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8D7F35A-11D1-422C-B693-92A75CA2C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E2BBDFF-CEA4-4899-B85A-4E17405CA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76834E1-B4C8-499B-B261-23AB3D5B3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639ED984-1F58-427F-8D04-DDCCB4374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F7237656-593A-4759-BBFE-FE8BEF841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B88B657E-3057-4DC2-9993-E45160716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B1E2A1E-C079-47C9-9B03-BF91563D5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740AA7F-70EA-42AD-A157-56DBD89EA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930000000000001</c:v>
                </c:pt>
                <c:pt idx="1">
                  <c:v>1.3240000000000001</c:v>
                </c:pt>
              </c:numCache>
            </c:numRef>
          </c:xVal>
          <c:yVal>
            <c:numRef>
              <c:f>Sheet1!$B$2:$B$3</c:f>
              <c:numCache>
                <c:formatCode>General</c:formatCode>
                <c:ptCount val="2"/>
                <c:pt idx="0">
                  <c:v>0.36859999999999998</c:v>
                </c:pt>
                <c:pt idx="1">
                  <c:v>0.65529999999999999</c:v>
                </c:pt>
              </c:numCache>
            </c:numRef>
          </c:yVal>
          <c:bubbleSize>
            <c:numRef>
              <c:f>Sheet1!$C$2:$C$3</c:f>
              <c:numCache>
                <c:formatCode>General</c:formatCode>
                <c:ptCount val="2"/>
                <c:pt idx="0">
                  <c:v>11591402.16860001</c:v>
                </c:pt>
                <c:pt idx="1">
                  <c:v>4851507.5233000014</c:v>
                </c:pt>
              </c:numCache>
            </c:numRef>
          </c:bubbleSize>
          <c:bubble3D val="0"/>
          <c:extLst>
            <c:ext xmlns:c15="http://schemas.microsoft.com/office/drawing/2012/chart" uri="{02D57815-91ED-43cb-92C2-25804820EDAC}">
              <c15:datalabelsRange>
                <c15:f>Sheet1!$E$2:$E$29</c15:f>
                <c15:dlblRangeCache>
                  <c:ptCount val="28"/>
                  <c:pt idx="0">
                    <c:v>Disposables</c:v>
                  </c:pt>
                  <c:pt idx="1">
                    <c:v>System</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13061004828"/>
        <c:crossBetween val="midCat"/>
      </c:valAx>
      <c:valAx>
        <c:axId val="1011451359"/>
        <c:scaling>
          <c:orientation val="minMax"/>
          <c:max val="1.14636"/>
          <c:min val="5.487999999999999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016394187693225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AE2182B-6F21-44B8-A5C9-214136912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1177C00-86CD-4CE5-B5F4-07F2F62DD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C219E0-7057-46AD-83B1-EAE3123E6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AAB8A966-518D-4308-800F-C3DC81578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6E98686C-9D5F-44A2-851A-448A9C4CB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B884E34-A35D-42EF-83D1-16DD17E6A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C515680-718E-49BD-B81F-6F4B722B9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24D5571-6FAC-4BAD-9949-3E7F64D75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8139999999999998</c:v>
                </c:pt>
                <c:pt idx="1">
                  <c:v>1.3228</c:v>
                </c:pt>
              </c:numCache>
            </c:numRef>
          </c:xVal>
          <c:yVal>
            <c:numRef>
              <c:f>Sheet1!$B$2:$B$3</c:f>
              <c:numCache>
                <c:formatCode>General</c:formatCode>
                <c:ptCount val="2"/>
                <c:pt idx="0">
                  <c:v>0.35460000000000003</c:v>
                </c:pt>
                <c:pt idx="1">
                  <c:v>0.65329999999999999</c:v>
                </c:pt>
              </c:numCache>
            </c:numRef>
          </c:yVal>
          <c:bubbleSize>
            <c:numRef>
              <c:f>Sheet1!$C$2:$C$3</c:f>
              <c:numCache>
                <c:formatCode>General</c:formatCode>
                <c:ptCount val="2"/>
                <c:pt idx="0">
                  <c:v>952941.43830000015</c:v>
                </c:pt>
                <c:pt idx="1">
                  <c:v>356505.12199999997</c:v>
                </c:pt>
              </c:numCache>
            </c:numRef>
          </c:bubbleSize>
          <c:bubble3D val="0"/>
          <c:extLst>
            <c:ext xmlns:c15="http://schemas.microsoft.com/office/drawing/2012/chart" uri="{02D57815-91ED-43cb-92C2-25804820EDAC}">
              <c15:datalabelsRange>
                <c15:f>Sheet1!$E$2:$E$29</c15:f>
                <c15:dlblRangeCache>
                  <c:ptCount val="28"/>
                  <c:pt idx="0">
                    <c:v>Disposables</c:v>
                  </c:pt>
                  <c:pt idx="1">
                    <c:v>System</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296740464398"/>
        <c:crossBetween val="midCat"/>
      </c:valAx>
      <c:valAx>
        <c:axId val="1011451359"/>
        <c:scaling>
          <c:orientation val="minMax"/>
          <c:max val="1.1439600000000001"/>
          <c:min val="4.368000000000003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49277477576035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3413BED-61EF-4064-96AD-D794E8DB7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AF21632-AC21-48CA-A7BD-71EAFF1F2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B5F5F67-F414-4AED-94B6-896CA06BE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063495D4-8941-4989-A5E5-D8AC2EB9F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7E5DCF0C-CFDF-4322-A7F3-B206A9906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54146B74-1740-4786-B546-D4314A8E0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F0F6B61-5920-4701-A09E-8F435037E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422A504-4F87-45B4-92C6-DE4020477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559999999999997</c:v>
                </c:pt>
                <c:pt idx="1">
                  <c:v>1.3248</c:v>
                </c:pt>
              </c:numCache>
            </c:numRef>
          </c:xVal>
          <c:yVal>
            <c:numRef>
              <c:f>Sheet1!$B$2:$B$3</c:f>
              <c:numCache>
                <c:formatCode>General</c:formatCode>
                <c:ptCount val="2"/>
                <c:pt idx="0">
                  <c:v>0.36559999999999998</c:v>
                </c:pt>
                <c:pt idx="1">
                  <c:v>0.65490000000000004</c:v>
                </c:pt>
              </c:numCache>
            </c:numRef>
          </c:yVal>
          <c:bubbleSize>
            <c:numRef>
              <c:f>Sheet1!$C$2:$C$3</c:f>
              <c:numCache>
                <c:formatCode>General</c:formatCode>
                <c:ptCount val="2"/>
                <c:pt idx="0">
                  <c:v>13456423.158500019</c:v>
                </c:pt>
                <c:pt idx="1">
                  <c:v>5594958.6237000031</c:v>
                </c:pt>
              </c:numCache>
            </c:numRef>
          </c:bubbleSize>
          <c:bubble3D val="0"/>
          <c:extLst>
            <c:ext xmlns:c15="http://schemas.microsoft.com/office/drawing/2012/chart" uri="{02D57815-91ED-43cb-92C2-25804820EDAC}">
              <c15:datalabelsRange>
                <c15:f>Sheet1!$E$2:$E$29</c15:f>
                <c15:dlblRangeCache>
                  <c:ptCount val="28"/>
                  <c:pt idx="0">
                    <c:v>Disposables</c:v>
                  </c:pt>
                  <c:pt idx="1">
                    <c:v>System</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084684779724"/>
        <c:crossBetween val="midCat"/>
      </c:valAx>
      <c:valAx>
        <c:axId val="1011451359"/>
        <c:scaling>
          <c:orientation val="minMax"/>
          <c:max val="1.14588"/>
          <c:min val="5.247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97852691240072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CBBBB"/>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3450788-B5E7-4ACC-B275-8729EFB49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2F4DDA-F7ED-4D39-8CB9-17DC413A0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097D43F-050C-42CA-B7D1-55ACF8834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C7FF609-8037-42A2-BE43-5019DB70D1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FA8D825-2C82-439B-9B71-D5838EAD5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01F8760-8C0F-426D-A10D-FBE6E5E81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75B7D35-884E-493D-B066-23A6A92E7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A6DA258-EFBE-443F-85DE-149DA3590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1.1990000000000001</c:v>
                </c:pt>
                <c:pt idx="2">
                  <c:v>0.26750000000000002</c:v>
                </c:pt>
              </c:numCache>
            </c:numRef>
          </c:xVal>
          <c:yVal>
            <c:numRef>
              <c:f>Sheet1!$B$2:$B$4</c:f>
              <c:numCache>
                <c:formatCode>General</c:formatCode>
                <c:ptCount val="3"/>
                <c:pt idx="0">
                  <c:v>0.4199</c:v>
                </c:pt>
                <c:pt idx="1">
                  <c:v>0.72060000000000002</c:v>
                </c:pt>
                <c:pt idx="2">
                  <c:v>0.33879999999999999</c:v>
                </c:pt>
              </c:numCache>
            </c:numRef>
          </c:yVal>
          <c:bubbleSize>
            <c:numRef>
              <c:f>Sheet1!$C$2:$C$4</c:f>
              <c:numCache>
                <c:formatCode>General</c:formatCode>
                <c:ptCount val="3"/>
                <c:pt idx="0">
                  <c:v>89489.170399999988</c:v>
                </c:pt>
                <c:pt idx="1">
                  <c:v>297456.80800000002</c:v>
                </c:pt>
                <c:pt idx="2">
                  <c:v>912079.55159999989</c:v>
                </c:pt>
              </c:numCache>
            </c:numRef>
          </c:bubbleSize>
          <c:bubble3D val="0"/>
          <c:extLst>
            <c:ext xmlns:c15="http://schemas.microsoft.com/office/drawing/2012/chart" uri="{02D57815-91ED-43cb-92C2-25804820EDAC}">
              <c15:datalabelsRange>
                <c15:f>Sheet1!$E$2:$E$29</c15:f>
                <c15:dlblRangeCache>
                  <c:ptCount val="28"/>
                  <c:pt idx="0">
                    <c:v>Razors</c:v>
                  </c:pt>
                  <c:pt idx="1">
                    <c:v>Refills</c:v>
                  </c:pt>
                  <c:pt idx="2">
                    <c:v>Disposable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1324587041792"/>
        <c:crossBetween val="midCat"/>
      </c:valAx>
      <c:valAx>
        <c:axId val="1011451359"/>
        <c:scaling>
          <c:orientation val="minMax"/>
          <c:max val="1.2247199999999998"/>
          <c:min val="3.1040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11096660141513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8A00E37-7265-496F-BFBE-6D585E8B8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B772A4-882D-4988-97B5-F6FDF842A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4CC94BB-67A1-4FE4-B576-C1FD32CF3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1E328F2-F5F4-465D-9B10-4BF59BF64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D7BDE114-834D-4926-BEB0-D4D7E62B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56B6D047-5FB0-45E2-8CE5-0A8EF59B3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121C4A8-CE58-496B-AF26-8D9F1DF4C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0379947-4F80-444D-9D13-FEFEAD8B0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1999999999998</c:v>
                </c:pt>
                <c:pt idx="1">
                  <c:v>1.1967000000000001</c:v>
                </c:pt>
                <c:pt idx="2">
                  <c:v>0.29930000000000001</c:v>
                </c:pt>
              </c:numCache>
            </c:numRef>
          </c:xVal>
          <c:yVal>
            <c:numRef>
              <c:f>Sheet1!$B$2:$B$4</c:f>
              <c:numCache>
                <c:formatCode>General</c:formatCode>
                <c:ptCount val="3"/>
                <c:pt idx="0">
                  <c:v>0.41980000000000001</c:v>
                </c:pt>
                <c:pt idx="1">
                  <c:v>0.72009999999999996</c:v>
                </c:pt>
                <c:pt idx="2">
                  <c:v>0.36859999999999998</c:v>
                </c:pt>
              </c:numCache>
            </c:numRef>
          </c:yVal>
          <c:bubbleSize>
            <c:numRef>
              <c:f>Sheet1!$C$2:$C$4</c:f>
              <c:numCache>
                <c:formatCode>General</c:formatCode>
                <c:ptCount val="3"/>
                <c:pt idx="0">
                  <c:v>1046552.1158</c:v>
                </c:pt>
                <c:pt idx="1">
                  <c:v>3804955.4075000002</c:v>
                </c:pt>
                <c:pt idx="2">
                  <c:v>11591402.16860001</c:v>
                </c:pt>
              </c:numCache>
            </c:numRef>
          </c:bubbleSize>
          <c:bubble3D val="0"/>
          <c:extLst>
            <c:ext xmlns:c15="http://schemas.microsoft.com/office/drawing/2012/chart" uri="{02D57815-91ED-43cb-92C2-25804820EDAC}">
              <c15:datalabelsRange>
                <c15:f>Sheet1!$E$2:$E$29</c15:f>
                <c15:dlblRangeCache>
                  <c:ptCount val="28"/>
                  <c:pt idx="0">
                    <c:v>Razors</c:v>
                  </c:pt>
                  <c:pt idx="1">
                    <c:v>Refills</c:v>
                  </c:pt>
                  <c:pt idx="2">
                    <c:v>Disposable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727141543853"/>
        <c:crossBetween val="midCat"/>
      </c:valAx>
      <c:valAx>
        <c:axId val="1011451359"/>
        <c:scaling>
          <c:orientation val="minMax"/>
          <c:max val="1.2241199999999999"/>
          <c:min val="5.4879999999999998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5340181653970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17BE23B-2890-418B-9415-9F3C8799C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62DD365-8B37-40E0-998D-BF0E723D9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3D18C04-33AD-4CD8-9FFF-5E18395E0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BB1DE20-3CA7-411D-99EB-D35967B53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A506E5C9-084D-4F52-8D9C-7926EB8E4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21F57634-1A6B-437D-BED1-FCD09F2FD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AA505D0-BC9C-46DE-AC54-81D0B5901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0C6FCD2-639A-4E3E-84DF-0D177BBCC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5999999999999</c:v>
                </c:pt>
                <c:pt idx="1">
                  <c:v>1.1920999999999999</c:v>
                </c:pt>
                <c:pt idx="2">
                  <c:v>0.28139999999999998</c:v>
                </c:pt>
              </c:numCache>
            </c:numRef>
          </c:xVal>
          <c:yVal>
            <c:numRef>
              <c:f>Sheet1!$B$2:$B$4</c:f>
              <c:numCache>
                <c:formatCode>General</c:formatCode>
                <c:ptCount val="3"/>
                <c:pt idx="0">
                  <c:v>0.41949999999999998</c:v>
                </c:pt>
                <c:pt idx="1">
                  <c:v>0.71950000000000003</c:v>
                </c:pt>
                <c:pt idx="2">
                  <c:v>0.35460000000000003</c:v>
                </c:pt>
              </c:numCache>
            </c:numRef>
          </c:yVal>
          <c:bubbleSize>
            <c:numRef>
              <c:f>Sheet1!$C$2:$C$4</c:f>
              <c:numCache>
                <c:formatCode>General</c:formatCode>
                <c:ptCount val="3"/>
                <c:pt idx="0">
                  <c:v>78650.092899999989</c:v>
                </c:pt>
                <c:pt idx="1">
                  <c:v>277855.02909999999</c:v>
                </c:pt>
                <c:pt idx="2">
                  <c:v>952941.43830000015</c:v>
                </c:pt>
              </c:numCache>
            </c:numRef>
          </c:bubbleSize>
          <c:bubble3D val="0"/>
          <c:extLst>
            <c:ext xmlns:c15="http://schemas.microsoft.com/office/drawing/2012/chart" uri="{02D57815-91ED-43cb-92C2-25804820EDAC}">
              <c15:datalabelsRange>
                <c15:f>Sheet1!$E$2:$E$29</c15:f>
                <c15:dlblRangeCache>
                  <c:ptCount val="28"/>
                  <c:pt idx="0">
                    <c:v>Razors</c:v>
                  </c:pt>
                  <c:pt idx="1">
                    <c:v>Refills</c:v>
                  </c:pt>
                  <c:pt idx="2">
                    <c:v>Disposable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725257867859"/>
        <c:crossBetween val="midCat"/>
      </c:valAx>
      <c:valAx>
        <c:axId val="1011451359"/>
        <c:scaling>
          <c:orientation val="minMax"/>
          <c:max val="1.2234"/>
          <c:min val="4.3680000000000031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7395327752398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3AA7EE3-CE82-46CA-8534-FB185E1ED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D731CC-27EB-4A2C-9F9C-5D600099C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E122338-DC9D-4FD9-9E02-D91A81AC7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8A93DAC-F848-4610-8171-4E9840436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68ABD4AF-442F-40EB-8758-C30F42875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3AEABE7C-5D16-4580-9936-3EC8B09B9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FAC1808-F9B1-407F-956D-0BF154C66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5B22F55-3CF9-4E55-915E-B21D2A12E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1</c:v>
                </c:pt>
                <c:pt idx="1">
                  <c:v>1.1964999999999999</c:v>
                </c:pt>
                <c:pt idx="2">
                  <c:v>0.29559999999999997</c:v>
                </c:pt>
              </c:numCache>
            </c:numRef>
          </c:xVal>
          <c:yVal>
            <c:numRef>
              <c:f>Sheet1!$B$2:$B$4</c:f>
              <c:numCache>
                <c:formatCode>General</c:formatCode>
                <c:ptCount val="3"/>
                <c:pt idx="0">
                  <c:v>0.41980000000000001</c:v>
                </c:pt>
                <c:pt idx="1">
                  <c:v>0.72009999999999996</c:v>
                </c:pt>
                <c:pt idx="2">
                  <c:v>0.36559999999999998</c:v>
                </c:pt>
              </c:numCache>
            </c:numRef>
          </c:yVal>
          <c:bubbleSize>
            <c:numRef>
              <c:f>Sheet1!$C$2:$C$4</c:f>
              <c:numCache>
                <c:formatCode>General</c:formatCode>
                <c:ptCount val="3"/>
                <c:pt idx="0">
                  <c:v>1214691.3791</c:v>
                </c:pt>
                <c:pt idx="1">
                  <c:v>4380267.2446000017</c:v>
                </c:pt>
                <c:pt idx="2">
                  <c:v>13456423.158500019</c:v>
                </c:pt>
              </c:numCache>
            </c:numRef>
          </c:bubbleSize>
          <c:bubble3D val="0"/>
          <c:extLst>
            <c:ext xmlns:c15="http://schemas.microsoft.com/office/drawing/2012/chart" uri="{02D57815-91ED-43cb-92C2-25804820EDAC}">
              <c15:datalabelsRange>
                <c15:f>Sheet1!$E$2:$E$29</c15:f>
                <c15:dlblRangeCache>
                  <c:ptCount val="28"/>
                  <c:pt idx="0">
                    <c:v>Razors</c:v>
                  </c:pt>
                  <c:pt idx="1">
                    <c:v>Refills</c:v>
                  </c:pt>
                  <c:pt idx="2">
                    <c:v>Disposables</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186940467702"/>
        <c:crossBetween val="midCat"/>
      </c:valAx>
      <c:valAx>
        <c:axId val="1011451359"/>
        <c:scaling>
          <c:orientation val="minMax"/>
          <c:max val="1.2241199999999999"/>
          <c:min val="5.247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1548018710897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7ECAC4"/>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464DD94-8EAC-4CE0-9FB2-745B9862F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526A647-F471-4495-B7C9-5CCA80EB6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CEF7943-9172-4863-B9C4-B1C74C1B4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7A718B-87B4-4581-913F-933BA05A7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2555881-A178-4872-9938-271E071F9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8A3B23-7175-406E-83B8-0C6920435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FF56026-8DE6-4BA6-A614-0373B7A06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0711CF0-51A1-4C75-9FC4-51296D9BD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281FD266-34B8-42FB-8837-7DB2E07152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AA0C75E4-B697-4A25-8213-ABC535CDE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29999999999998</c:v>
                </c:pt>
                <c:pt idx="1">
                  <c:v>0.97550000000000003</c:v>
                </c:pt>
                <c:pt idx="2">
                  <c:v>2.1585999999999999</c:v>
                </c:pt>
                <c:pt idx="3">
                  <c:v>0.94440000000000002</c:v>
                </c:pt>
                <c:pt idx="4">
                  <c:v>0.44940000000000002</c:v>
                </c:pt>
                <c:pt idx="5">
                  <c:v>0.41270000000000001</c:v>
                </c:pt>
                <c:pt idx="6">
                  <c:v>0.14069999999999999</c:v>
                </c:pt>
                <c:pt idx="7">
                  <c:v>1.1413</c:v>
                </c:pt>
                <c:pt idx="8">
                  <c:v>1.2748999999999999</c:v>
                </c:pt>
                <c:pt idx="9">
                  <c:v>0.10829999999999999</c:v>
                </c:pt>
              </c:numCache>
            </c:numRef>
          </c:xVal>
          <c:yVal>
            <c:numRef>
              <c:f>Sheet1!$B$2:$B$11</c:f>
              <c:numCache>
                <c:formatCode>General</c:formatCode>
                <c:ptCount val="10"/>
                <c:pt idx="0">
                  <c:v>0.49340000000000001</c:v>
                </c:pt>
                <c:pt idx="1">
                  <c:v>0.68369999999999997</c:v>
                </c:pt>
                <c:pt idx="2">
                  <c:v>0.41949999999999998</c:v>
                </c:pt>
                <c:pt idx="3">
                  <c:v>0.49109999999999998</c:v>
                </c:pt>
                <c:pt idx="4">
                  <c:v>0.48</c:v>
                </c:pt>
                <c:pt idx="5">
                  <c:v>0.51659999999999995</c:v>
                </c:pt>
                <c:pt idx="6">
                  <c:v>1.04E-2</c:v>
                </c:pt>
                <c:pt idx="7">
                  <c:v>0.70909999999999995</c:v>
                </c:pt>
                <c:pt idx="8">
                  <c:v>0.73170000000000002</c:v>
                </c:pt>
                <c:pt idx="9">
                  <c:v>-3.2000000000000002E-3</c:v>
                </c:pt>
              </c:numCache>
            </c:numRef>
          </c:yVal>
          <c:bubbleSize>
            <c:numRef>
              <c:f>Sheet1!$C$2:$C$11</c:f>
              <c:numCache>
                <c:formatCode>General</c:formatCode>
                <c:ptCount val="10"/>
                <c:pt idx="0">
                  <c:v>129385.6139</c:v>
                </c:pt>
                <c:pt idx="1">
                  <c:v>30082.322400000001</c:v>
                </c:pt>
                <c:pt idx="2">
                  <c:v>78650.092899999989</c:v>
                </c:pt>
                <c:pt idx="3">
                  <c:v>310226.51689999987</c:v>
                </c:pt>
                <c:pt idx="4">
                  <c:v>100468.05989999999</c:v>
                </c:pt>
                <c:pt idx="5">
                  <c:v>141820.57579999999</c:v>
                </c:pt>
                <c:pt idx="6">
                  <c:v>85078.340200000006</c:v>
                </c:pt>
                <c:pt idx="7">
                  <c:v>85603.147900000011</c:v>
                </c:pt>
                <c:pt idx="8">
                  <c:v>162101.8536</c:v>
                </c:pt>
                <c:pt idx="9">
                  <c:v>185958.4334000001</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EASY FIT 5 5 BLADE REFILL NORMAL 12CT</c:v>
                  </c:pt>
                  <c:pt idx="2">
                    <c:v>EQUATE EASY FIT 5 5 BLADE RAZOR NORMAL 2CT</c:v>
                  </c:pt>
                  <c:pt idx="3">
                    <c:v>EQUATE CALIBER 5 5 BLADE DISPOSABLE NORMAL 3CT</c:v>
                  </c:pt>
                  <c:pt idx="4">
                    <c:v>EQUATE SPEED 3 SENSITIVE GREEN 3 BLADE DISPOSABLE SENSITIVE 4CT</c:v>
                  </c:pt>
                  <c:pt idx="5">
                    <c:v>EQUATE SPEED 3 SENSITIVE GREEN 3 BLADE DISPOSABLE SENSITIVE 8CT</c:v>
                  </c:pt>
                  <c:pt idx="6">
                    <c:v>EQUATE TB (TWIN BLADE) BLUE 2 BLADE DISPOSABLE NORMAL 5CT</c:v>
                  </c:pt>
                  <c:pt idx="7">
                    <c:v>EQUATE EASY FIT 5 5 BLADE REFILL NORMAL 8CT</c:v>
                  </c:pt>
                  <c:pt idx="8">
                    <c:v>EQUATE EASY FIT 5 5 BLADE REFILL NORMAL 4CT</c:v>
                  </c:pt>
                  <c:pt idx="9">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6537687895204"/>
        <c:crossBetween val="midCat"/>
      </c:valAx>
      <c:valAx>
        <c:axId val="1011451359"/>
        <c:scaling>
          <c:orientation val="minMax"/>
          <c:max val="1.23804"/>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034041178933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ED834B0-C1B8-489B-BF77-2010F9739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91D6879-0BB7-4961-8FD8-F20A651BA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244B06F0-F054-4A1E-A0DA-144EF8F93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C1CFD532-6B34-445C-86EF-D180956CB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3225178-B854-4BB1-BD1B-94BB5A693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643F6944-FBD5-4DC1-AD17-71BF02AAD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2B2E83A-C17A-451C-98DA-8DD2C1234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62ADE0C-2503-4F87-8F91-C4B810A6E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64999999999999</c:v>
                </c:pt>
              </c:numCache>
            </c:numRef>
          </c:xVal>
          <c:yVal>
            <c:numRef>
              <c:f>Sheet1!$B$2:$B$2</c:f>
              <c:numCache>
                <c:formatCode>General</c:formatCode>
                <c:ptCount val="1"/>
                <c:pt idx="0">
                  <c:v>0.72009999999999996</c:v>
                </c:pt>
              </c:numCache>
            </c:numRef>
          </c:yVal>
          <c:bubbleSize>
            <c:numRef>
              <c:f>Sheet1!$C$2:$C$2</c:f>
              <c:numCache>
                <c:formatCode>General</c:formatCode>
                <c:ptCount val="1"/>
                <c:pt idx="0">
                  <c:v>4380267.2446000036</c:v>
                </c:pt>
              </c:numCache>
            </c:numRef>
          </c:bubbleSize>
          <c:bubble3D val="0"/>
          <c:extLst>
            <c:ext xmlns:c15="http://schemas.microsoft.com/office/drawing/2012/chart" uri="{02D57815-91ED-43cb-92C2-25804820EDAC}">
              <c15:datalabelsRange>
                <c15:f>Sheet1!$E$2:$E$29</c15:f>
                <c15:dlblRangeCache>
                  <c:ptCount val="28"/>
                  <c:pt idx="0">
                    <c:v>Walmar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999999999996"/>
        <c:crossBetween val="midCat"/>
      </c:valAx>
      <c:valAx>
        <c:axId val="1011451359"/>
        <c:scaling>
          <c:orientation val="minMax"/>
          <c:max val="1.2241199999999999"/>
          <c:min val="0.33607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499999999999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extLst>
              <c:ext xmlns:c16="http://schemas.microsoft.com/office/drawing/2014/chart" uri="{C3380CC4-5D6E-409C-BE32-E72D297353CC}">
                <c16:uniqueId val="{0000000A-7D2A-4F1E-BC80-EAAAE9B08A80}"/>
              </c:ext>
            </c:extLst>
          </c:dPt>
          <c:dPt>
            <c:idx val="4"/>
            <c:invertIfNegative val="0"/>
            <c:bubble3D val="0"/>
            <c:spPr>
              <a:solidFill>
                <a:srgbClr val="BCBBBB"/>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FF8080"/>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FA5A6D7-5BA3-41D1-A994-FB532DA79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053BFBB-D3EB-4EA8-9E78-6291F7095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0B9546C-FF41-4830-87DF-676475CFF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EF8E208-98B0-4575-B08A-0F6310482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E4BB619-ABC1-4276-AF11-19B3F847F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540762A-51BD-4C95-87D7-CA97707C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2490D67-F2D6-4515-BC4F-6A78E558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40051BC-175A-4EE0-86FA-3E96A29FE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CCBFF102-2238-4038-8C23-BC5F2B095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4A6E3132-3BA0-425A-AC78-4D7DDA6FB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29999999999998</c:v>
                </c:pt>
                <c:pt idx="1">
                  <c:v>0.9758</c:v>
                </c:pt>
                <c:pt idx="2">
                  <c:v>2.1589</c:v>
                </c:pt>
                <c:pt idx="3">
                  <c:v>0.94440000000000002</c:v>
                </c:pt>
                <c:pt idx="4">
                  <c:v>0.44940000000000002</c:v>
                </c:pt>
                <c:pt idx="5">
                  <c:v>0.41270000000000001</c:v>
                </c:pt>
                <c:pt idx="6">
                  <c:v>0.14069999999999999</c:v>
                </c:pt>
                <c:pt idx="7">
                  <c:v>1.1412</c:v>
                </c:pt>
                <c:pt idx="8">
                  <c:v>1.2747999999999999</c:v>
                </c:pt>
                <c:pt idx="9">
                  <c:v>0.10829999999999999</c:v>
                </c:pt>
              </c:numCache>
            </c:numRef>
          </c:xVal>
          <c:yVal>
            <c:numRef>
              <c:f>Sheet1!$B$2:$B$11</c:f>
              <c:numCache>
                <c:formatCode>General</c:formatCode>
                <c:ptCount val="10"/>
                <c:pt idx="0">
                  <c:v>0.49359999999999998</c:v>
                </c:pt>
                <c:pt idx="1">
                  <c:v>0.68369999999999997</c:v>
                </c:pt>
                <c:pt idx="2">
                  <c:v>0.4199</c:v>
                </c:pt>
                <c:pt idx="3">
                  <c:v>0.4909</c:v>
                </c:pt>
                <c:pt idx="4">
                  <c:v>0.47889999999999999</c:v>
                </c:pt>
                <c:pt idx="5">
                  <c:v>0.51580000000000004</c:v>
                </c:pt>
                <c:pt idx="6">
                  <c:v>1.2E-2</c:v>
                </c:pt>
                <c:pt idx="7">
                  <c:v>0.70909999999999995</c:v>
                </c:pt>
                <c:pt idx="8">
                  <c:v>0.73180000000000001</c:v>
                </c:pt>
                <c:pt idx="9">
                  <c:v>-2.2000000000000001E-3</c:v>
                </c:pt>
              </c:numCache>
            </c:numRef>
          </c:yVal>
          <c:bubbleSize>
            <c:numRef>
              <c:f>Sheet1!$C$2:$C$11</c:f>
              <c:numCache>
                <c:formatCode>General</c:formatCode>
                <c:ptCount val="10"/>
                <c:pt idx="0">
                  <c:v>119428.2879</c:v>
                </c:pt>
                <c:pt idx="1">
                  <c:v>28301.748800000001</c:v>
                </c:pt>
                <c:pt idx="2">
                  <c:v>89489.170399999988</c:v>
                </c:pt>
                <c:pt idx="3">
                  <c:v>272475.62770000001</c:v>
                </c:pt>
                <c:pt idx="4">
                  <c:v>106130.8149</c:v>
                </c:pt>
                <c:pt idx="5">
                  <c:v>125001.96189999999</c:v>
                </c:pt>
                <c:pt idx="6">
                  <c:v>114348.9244</c:v>
                </c:pt>
                <c:pt idx="7">
                  <c:v>86297.400300000008</c:v>
                </c:pt>
                <c:pt idx="8">
                  <c:v>182797.47649999999</c:v>
                </c:pt>
                <c:pt idx="9">
                  <c:v>174687.43780000001</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EASY FIT 5 5 BLADE REFILL NORMAL 12CT</c:v>
                  </c:pt>
                  <c:pt idx="2">
                    <c:v>EQUATE EASY FIT 5 5 BLADE RAZOR NORMAL 2CT</c:v>
                  </c:pt>
                  <c:pt idx="3">
                    <c:v>EQUATE CALIBER 5 5 BLADE DISPOSABLE NORMAL 3CT</c:v>
                  </c:pt>
                  <c:pt idx="4">
                    <c:v>EQUATE SPEED 3 SENSITIVE GREEN 3 BLADE DISPOSABLE SENSITIVE 4CT</c:v>
                  </c:pt>
                  <c:pt idx="5">
                    <c:v>EQUATE SPEED 3 SENSITIVE GREEN 3 BLADE DISPOSABLE SENSITIVE 8CT</c:v>
                  </c:pt>
                  <c:pt idx="6">
                    <c:v>EQUATE TB (TWIN BLADE) BLUE 2 BLADE DISPOSABLE NORMAL 5CT</c:v>
                  </c:pt>
                  <c:pt idx="7">
                    <c:v>EQUATE EASY FIT 5 5 BLADE REFILL NORMAL 8CT</c:v>
                  </c:pt>
                  <c:pt idx="8">
                    <c:v>EQUATE EASY FIT 5 5 BLADE REFILL NORMAL 4CT</c:v>
                  </c:pt>
                  <c:pt idx="9">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79898299358027"/>
        <c:crossBetween val="midCat"/>
      </c:valAx>
      <c:valAx>
        <c:axId val="1011451359"/>
        <c:scaling>
          <c:orientation val="minMax"/>
          <c:max val="1.2381599999999999"/>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97056292307247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1A67788-EF94-4B23-9049-A5487679F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AAA6003-FFEC-4D21-B31E-2BC340FF9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609F04A-293A-4EAB-A975-AC1E8E959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EB9CF21-23F5-44C9-BCFE-5A2D357C6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56DE557-AA37-452D-BE80-881EE776D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659C55B-B72C-4CFE-828F-B079DE359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AA049C3-9F6E-45B1-9096-9CAF054D0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53DE26F-772C-404F-8ECB-427B581BC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51641E46-7CA5-4C4D-9AAE-BE67F3B40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D3B5DAEE-6E7E-4368-95CA-C438C1353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177148C5-40D9-4EF4-9741-A7BBA3183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76529999999999998</c:v>
                </c:pt>
                <c:pt idx="1">
                  <c:v>0.97609999999999997</c:v>
                </c:pt>
                <c:pt idx="2">
                  <c:v>2.1591</c:v>
                </c:pt>
                <c:pt idx="3">
                  <c:v>0.94440000000000002</c:v>
                </c:pt>
                <c:pt idx="4">
                  <c:v>0.91600000000000004</c:v>
                </c:pt>
                <c:pt idx="5">
                  <c:v>0.44940000000000002</c:v>
                </c:pt>
                <c:pt idx="6">
                  <c:v>0.4128</c:v>
                </c:pt>
                <c:pt idx="7">
                  <c:v>0.14069999999999999</c:v>
                </c:pt>
                <c:pt idx="8">
                  <c:v>1.1416999999999999</c:v>
                </c:pt>
                <c:pt idx="9">
                  <c:v>1.2749999999999999</c:v>
                </c:pt>
                <c:pt idx="10">
                  <c:v>0.10829999999999999</c:v>
                </c:pt>
              </c:numCache>
            </c:numRef>
          </c:xVal>
          <c:yVal>
            <c:numRef>
              <c:f>Sheet1!$B$2:$B$12</c:f>
              <c:numCache>
                <c:formatCode>General</c:formatCode>
                <c:ptCount val="11"/>
                <c:pt idx="0">
                  <c:v>0.49340000000000001</c:v>
                </c:pt>
                <c:pt idx="1">
                  <c:v>0.68369999999999997</c:v>
                </c:pt>
                <c:pt idx="2">
                  <c:v>0.41980000000000001</c:v>
                </c:pt>
                <c:pt idx="3">
                  <c:v>0.49109999999999998</c:v>
                </c:pt>
                <c:pt idx="4">
                  <c:v>0.73860000000000003</c:v>
                </c:pt>
                <c:pt idx="5">
                  <c:v>0.47970000000000002</c:v>
                </c:pt>
                <c:pt idx="6">
                  <c:v>0.51649999999999996</c:v>
                </c:pt>
                <c:pt idx="7">
                  <c:v>1.0500000000000001E-2</c:v>
                </c:pt>
                <c:pt idx="8">
                  <c:v>0.70909999999999995</c:v>
                </c:pt>
                <c:pt idx="9">
                  <c:v>0.73170000000000002</c:v>
                </c:pt>
                <c:pt idx="10">
                  <c:v>-2.5999999999999999E-3</c:v>
                </c:pt>
              </c:numCache>
            </c:numRef>
          </c:yVal>
          <c:bubbleSize>
            <c:numRef>
              <c:f>Sheet1!$C$2:$C$12</c:f>
              <c:numCache>
                <c:formatCode>General</c:formatCode>
                <c:ptCount val="11"/>
                <c:pt idx="0">
                  <c:v>1798622.3696000001</c:v>
                </c:pt>
                <c:pt idx="1">
                  <c:v>423999.08850000001</c:v>
                </c:pt>
                <c:pt idx="2">
                  <c:v>1214691.3791</c:v>
                </c:pt>
                <c:pt idx="3">
                  <c:v>4518773.5040000007</c:v>
                </c:pt>
                <c:pt idx="4">
                  <c:v>1094.5673999999999</c:v>
                </c:pt>
                <c:pt idx="5">
                  <c:v>1614221.3448999999</c:v>
                </c:pt>
                <c:pt idx="6">
                  <c:v>1997336.7135999999</c:v>
                </c:pt>
                <c:pt idx="7">
                  <c:v>1228819.4014000001</c:v>
                </c:pt>
                <c:pt idx="8">
                  <c:v>1343734.6551000001</c:v>
                </c:pt>
                <c:pt idx="9">
                  <c:v>2611438.9336000001</c:v>
                </c:pt>
                <c:pt idx="10">
                  <c:v>2298580.1269999999</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EASY FIT 5 5 BLADE REFILL NORMAL 12CT</c:v>
                  </c:pt>
                  <c:pt idx="2">
                    <c:v>EQUATE EASY FIT 5 5 BLADE RAZOR NORMAL 2CT</c:v>
                  </c:pt>
                  <c:pt idx="3">
                    <c:v>EQUATE CALIBER 5 5 BLADE DISPOSABLE NORMAL 3CT</c:v>
                  </c:pt>
                  <c:pt idx="4">
                    <c:v>EQUATE CALIBER 5 5 BLADE REFILL NORMAL 4CT</c:v>
                  </c:pt>
                  <c:pt idx="5">
                    <c:v>EQUATE SPEED 3 SENSITIVE GREEN 3 BLADE DISPOSABLE SENSITIVE 4CT</c:v>
                  </c:pt>
                  <c:pt idx="6">
                    <c:v>EQUATE SPEED 3 SENSITIVE GREEN 3 BLADE DISPOSABLE SENSITIVE 8CT</c:v>
                  </c:pt>
                  <c:pt idx="7">
                    <c:v>EQUATE TB (TWIN BLADE) BLUE 2 BLADE DISPOSABLE NORMAL 5CT</c:v>
                  </c:pt>
                  <c:pt idx="8">
                    <c:v>EQUATE EASY FIT 5 5 BLADE REFILL NORMAL 8CT</c:v>
                  </c:pt>
                  <c:pt idx="9">
                    <c:v>EQUATE EASY FIT 5 5 BLADE REFILL NORMAL 4CT</c:v>
                  </c:pt>
                  <c:pt idx="10">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998090982496"/>
        <c:crossBetween val="midCat"/>
      </c:valAx>
      <c:valAx>
        <c:axId val="1011451359"/>
        <c:scaling>
          <c:orientation val="minMax"/>
          <c:max val="1.2463199999999999"/>
          <c:min val="-0.24207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4485264850093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FF8080"/>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73C01D5-F4EB-4965-B0A7-42498E8F9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6529AF2-1D4D-4268-9BA2-D3CB8697E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96C828-DD92-40AB-98F0-72E41C3A2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33EB5B2-E654-46CC-BBC3-F699600FC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CBF352-B763-4B1F-B772-DF984E460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6695CFB-CE5A-414E-9AFC-740526F98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AD592DC-184A-4ABF-BF58-9F67FE0CF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A6A5244-4CEB-4299-8740-6A1E91743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80201780-0D8D-432A-A2BE-9FCD90FA3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18B289DD-25EA-4188-B55D-4C502F26FE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29999999999998</c:v>
                </c:pt>
                <c:pt idx="1">
                  <c:v>0.97619999999999996</c:v>
                </c:pt>
                <c:pt idx="2">
                  <c:v>2.1591999999999998</c:v>
                </c:pt>
                <c:pt idx="3">
                  <c:v>0.94440000000000002</c:v>
                </c:pt>
                <c:pt idx="4">
                  <c:v>0.44940000000000002</c:v>
                </c:pt>
                <c:pt idx="5">
                  <c:v>0.4128</c:v>
                </c:pt>
                <c:pt idx="6">
                  <c:v>0.14069999999999999</c:v>
                </c:pt>
                <c:pt idx="7">
                  <c:v>1.1417999999999999</c:v>
                </c:pt>
                <c:pt idx="8">
                  <c:v>1.2749999999999999</c:v>
                </c:pt>
                <c:pt idx="9">
                  <c:v>0.10829999999999999</c:v>
                </c:pt>
              </c:numCache>
            </c:numRef>
          </c:xVal>
          <c:yVal>
            <c:numRef>
              <c:f>Sheet1!$B$2:$B$11</c:f>
              <c:numCache>
                <c:formatCode>General</c:formatCode>
                <c:ptCount val="10"/>
                <c:pt idx="0">
                  <c:v>0.49340000000000001</c:v>
                </c:pt>
                <c:pt idx="1">
                  <c:v>0.68369999999999997</c:v>
                </c:pt>
                <c:pt idx="2">
                  <c:v>0.41980000000000001</c:v>
                </c:pt>
                <c:pt idx="3">
                  <c:v>0.49109999999999998</c:v>
                </c:pt>
                <c:pt idx="4">
                  <c:v>0.4798</c:v>
                </c:pt>
                <c:pt idx="5">
                  <c:v>0.51659999999999995</c:v>
                </c:pt>
                <c:pt idx="6">
                  <c:v>1.04E-2</c:v>
                </c:pt>
                <c:pt idx="7">
                  <c:v>0.70909999999999995</c:v>
                </c:pt>
                <c:pt idx="8">
                  <c:v>0.73170000000000002</c:v>
                </c:pt>
                <c:pt idx="9">
                  <c:v>-2.5999999999999999E-3</c:v>
                </c:pt>
              </c:numCache>
            </c:numRef>
          </c:yVal>
          <c:bubbleSize>
            <c:numRef>
              <c:f>Sheet1!$C$2:$C$11</c:f>
              <c:numCache>
                <c:formatCode>General</c:formatCode>
                <c:ptCount val="10"/>
                <c:pt idx="0">
                  <c:v>1549808.4678</c:v>
                </c:pt>
                <c:pt idx="1">
                  <c:v>365615.01729999989</c:v>
                </c:pt>
                <c:pt idx="2">
                  <c:v>1046552.1158</c:v>
                </c:pt>
                <c:pt idx="3">
                  <c:v>3936071.359399999</c:v>
                </c:pt>
                <c:pt idx="4">
                  <c:v>1407622.4701</c:v>
                </c:pt>
                <c:pt idx="5">
                  <c:v>1730514.1758999999</c:v>
                </c:pt>
                <c:pt idx="6">
                  <c:v>1029392.1368</c:v>
                </c:pt>
                <c:pt idx="7">
                  <c:v>1171834.1069</c:v>
                </c:pt>
                <c:pt idx="8">
                  <c:v>2266539.6035000002</c:v>
                </c:pt>
                <c:pt idx="9">
                  <c:v>1937934.2557999999</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EASY FIT 5 5 BLADE REFILL NORMAL 12CT</c:v>
                  </c:pt>
                  <c:pt idx="2">
                    <c:v>EQUATE EASY FIT 5 5 BLADE RAZOR NORMAL 2CT</c:v>
                  </c:pt>
                  <c:pt idx="3">
                    <c:v>EQUATE CALIBER 5 5 BLADE DISPOSABLE NORMAL 3CT</c:v>
                  </c:pt>
                  <c:pt idx="4">
                    <c:v>EQUATE SPEED 3 SENSITIVE GREEN 3 BLADE DISPOSABLE SENSITIVE 4CT</c:v>
                  </c:pt>
                  <c:pt idx="5">
                    <c:v>EQUATE SPEED 3 SENSITIVE GREEN 3 BLADE DISPOSABLE SENSITIVE 8CT</c:v>
                  </c:pt>
                  <c:pt idx="6">
                    <c:v>EQUATE TB (TWIN BLADE) BLUE 2 BLADE DISPOSABLE NORMAL 5CT</c:v>
                  </c:pt>
                  <c:pt idx="7">
                    <c:v>EQUATE EASY FIT 5 5 BLADE REFILL NORMAL 8CT</c:v>
                  </c:pt>
                  <c:pt idx="8">
                    <c:v>EQUATE EASY FIT 5 5 BLADE REFILL NORMAL 4CT</c:v>
                  </c:pt>
                  <c:pt idx="9">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601856843728"/>
        <c:crossBetween val="midCat"/>
      </c:valAx>
      <c:valAx>
        <c:axId val="1011451359"/>
        <c:scaling>
          <c:orientation val="minMax"/>
          <c:max val="1.23804"/>
          <c:min val="-0.24207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7997309766108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A1CCEC9-A5BB-40ED-A6F7-79384759B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70CCD1F-2E4A-47A1-9CC0-8E3896C0C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BB028A9-5D5C-4B95-AED1-031F18278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0042ADB-1246-4E65-8D1E-54181094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81C90B6-66B7-4639-8EAB-C29F2FC89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A998F564-EFE2-4B43-9488-194535574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08DD2FC-231D-47D5-B077-654EA93CE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59351B2-F5E5-4311-AA12-12E3D3901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50000000000003</c:v>
                </c:pt>
                <c:pt idx="1">
                  <c:v>2.1585999999999999</c:v>
                </c:pt>
                <c:pt idx="2">
                  <c:v>1.1413</c:v>
                </c:pt>
                <c:pt idx="3">
                  <c:v>1.2748999999999999</c:v>
                </c:pt>
              </c:numCache>
            </c:numRef>
          </c:xVal>
          <c:yVal>
            <c:numRef>
              <c:f>Sheet1!$B$2:$B$5</c:f>
              <c:numCache>
                <c:formatCode>General</c:formatCode>
                <c:ptCount val="4"/>
                <c:pt idx="0">
                  <c:v>0.68369999999999997</c:v>
                </c:pt>
                <c:pt idx="1">
                  <c:v>0.41949999999999998</c:v>
                </c:pt>
                <c:pt idx="2">
                  <c:v>0.70909999999999995</c:v>
                </c:pt>
                <c:pt idx="3">
                  <c:v>0.73170000000000002</c:v>
                </c:pt>
              </c:numCache>
            </c:numRef>
          </c:yVal>
          <c:bubbleSize>
            <c:numRef>
              <c:f>Sheet1!$C$2:$C$5</c:f>
              <c:numCache>
                <c:formatCode>General</c:formatCode>
                <c:ptCount val="4"/>
                <c:pt idx="0">
                  <c:v>30082.322400000001</c:v>
                </c:pt>
                <c:pt idx="1">
                  <c:v>78650.092899999989</c:v>
                </c:pt>
                <c:pt idx="2">
                  <c:v>85603.147900000011</c:v>
                </c:pt>
                <c:pt idx="3">
                  <c:v>162101.8536</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AZOR NORMAL 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333240921254487"/>
        <c:crossBetween val="midCat"/>
      </c:valAx>
      <c:valAx>
        <c:axId val="1011451359"/>
        <c:scaling>
          <c:orientation val="minMax"/>
          <c:max val="1.23804"/>
          <c:min val="9.560000000000000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53947581647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EF760A6-EAAB-4F90-AFAA-387B11A81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DB48BD0-C28B-4A91-9440-370A794653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F13C69C-16B8-4C4F-8937-E26162C36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1717CF2-566B-45DF-834D-5A4A2C866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5A4FF14-DCE8-40E3-AD22-17E47D175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9464D2F-F2D4-4654-B217-7387D30D2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83AAF0F-897F-4569-84ED-0CB9F8F48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98BAEEC-C605-4313-A434-4C993F3DA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0.97609999999999997</c:v>
                </c:pt>
                <c:pt idx="1">
                  <c:v>2.1591</c:v>
                </c:pt>
                <c:pt idx="2">
                  <c:v>0.91600000000000004</c:v>
                </c:pt>
                <c:pt idx="3">
                  <c:v>1.1416999999999999</c:v>
                </c:pt>
                <c:pt idx="4">
                  <c:v>1.2749999999999999</c:v>
                </c:pt>
              </c:numCache>
            </c:numRef>
          </c:xVal>
          <c:yVal>
            <c:numRef>
              <c:f>Sheet1!$B$2:$B$6</c:f>
              <c:numCache>
                <c:formatCode>General</c:formatCode>
                <c:ptCount val="5"/>
                <c:pt idx="0">
                  <c:v>0.68369999999999997</c:v>
                </c:pt>
                <c:pt idx="1">
                  <c:v>0.41980000000000001</c:v>
                </c:pt>
                <c:pt idx="2">
                  <c:v>0.73860000000000003</c:v>
                </c:pt>
                <c:pt idx="3">
                  <c:v>0.70909999999999995</c:v>
                </c:pt>
                <c:pt idx="4">
                  <c:v>0.73170000000000002</c:v>
                </c:pt>
              </c:numCache>
            </c:numRef>
          </c:yVal>
          <c:bubbleSize>
            <c:numRef>
              <c:f>Sheet1!$C$2:$C$6</c:f>
              <c:numCache>
                <c:formatCode>General</c:formatCode>
                <c:ptCount val="5"/>
                <c:pt idx="0">
                  <c:v>423999.08850000001</c:v>
                </c:pt>
                <c:pt idx="1">
                  <c:v>1214691.3791</c:v>
                </c:pt>
                <c:pt idx="2">
                  <c:v>1094.5673999999999</c:v>
                </c:pt>
                <c:pt idx="3">
                  <c:v>1343734.6551000001</c:v>
                </c:pt>
                <c:pt idx="4">
                  <c:v>2611438.9336000001</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AZOR NORMAL 2CT</c:v>
                  </c:pt>
                  <c:pt idx="2">
                    <c:v>EQUATE CALIBER 5 5 BLADE REFILL NORMAL 4CT</c:v>
                  </c:pt>
                  <c:pt idx="3">
                    <c:v>EQUATE EASY FIT 5 5 BLADE REFILL NORMAL 8CT</c:v>
                  </c:pt>
                  <c:pt idx="4">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2105006106227"/>
        <c:crossBetween val="midCat"/>
      </c:valAx>
      <c:valAx>
        <c:axId val="1011451359"/>
        <c:scaling>
          <c:orientation val="minMax"/>
          <c:max val="1.2463199999999999"/>
          <c:min val="9.584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20611591950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C9610DA-2D90-4938-9EE7-C496856D5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1CE53C-408C-444A-A98A-87D95245A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5A202AF-D619-40EA-95FA-569E1B4C8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E45E2F7-C82A-4280-9812-97767B070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A1D9F4-AF12-44B3-B042-81E5CBC11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677FE0C8-A28D-457C-B370-5D499905FB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9021DDEC-8B7D-4F51-BBBB-6829425E4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FC2ABDB-E8B5-4B8E-90EC-2C0F7D1CD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8</c:v>
                </c:pt>
                <c:pt idx="1">
                  <c:v>2.1589</c:v>
                </c:pt>
                <c:pt idx="2">
                  <c:v>1.1412</c:v>
                </c:pt>
                <c:pt idx="3">
                  <c:v>1.2747999999999999</c:v>
                </c:pt>
              </c:numCache>
            </c:numRef>
          </c:xVal>
          <c:yVal>
            <c:numRef>
              <c:f>Sheet1!$B$2:$B$5</c:f>
              <c:numCache>
                <c:formatCode>General</c:formatCode>
                <c:ptCount val="4"/>
                <c:pt idx="0">
                  <c:v>0.68369999999999997</c:v>
                </c:pt>
                <c:pt idx="1">
                  <c:v>0.4199</c:v>
                </c:pt>
                <c:pt idx="2">
                  <c:v>0.70909999999999995</c:v>
                </c:pt>
                <c:pt idx="3">
                  <c:v>0.73180000000000001</c:v>
                </c:pt>
              </c:numCache>
            </c:numRef>
          </c:yVal>
          <c:bubbleSize>
            <c:numRef>
              <c:f>Sheet1!$C$2:$C$5</c:f>
              <c:numCache>
                <c:formatCode>General</c:formatCode>
                <c:ptCount val="4"/>
                <c:pt idx="0">
                  <c:v>28301.748800000001</c:v>
                </c:pt>
                <c:pt idx="1">
                  <c:v>89489.170399999988</c:v>
                </c:pt>
                <c:pt idx="2">
                  <c:v>86297.400300000008</c:v>
                </c:pt>
                <c:pt idx="3">
                  <c:v>182797.47649999999</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AZOR NORMAL 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107349705066442"/>
        <c:crossBetween val="midCat"/>
      </c:valAx>
      <c:valAx>
        <c:axId val="1011451359"/>
        <c:scaling>
          <c:orientation val="minMax"/>
          <c:max val="1.2381599999999999"/>
          <c:min val="9.5920000000000005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27624995362093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2E2CC5A-4880-478F-A5B5-CE06996E2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FDC9F1C-FECE-4442-835D-F1EDADC74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B8E936B-FF1B-4FA6-8072-4916F59FD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70FA001-38CC-481E-A846-487806F9B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088C5D0-D757-40A9-BA7C-47FC55580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03A8F75-8C6E-4B08-A867-194182AD8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603AF6F-5B52-4048-8161-95C29709F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762474A-B123-42BB-ACAC-F2B9922D4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19999999999996</c:v>
                </c:pt>
                <c:pt idx="1">
                  <c:v>2.1591999999999998</c:v>
                </c:pt>
                <c:pt idx="2">
                  <c:v>1.1417999999999999</c:v>
                </c:pt>
                <c:pt idx="3">
                  <c:v>1.2749999999999999</c:v>
                </c:pt>
              </c:numCache>
            </c:numRef>
          </c:xVal>
          <c:yVal>
            <c:numRef>
              <c:f>Sheet1!$B$2:$B$5</c:f>
              <c:numCache>
                <c:formatCode>General</c:formatCode>
                <c:ptCount val="4"/>
                <c:pt idx="0">
                  <c:v>0.68369999999999997</c:v>
                </c:pt>
                <c:pt idx="1">
                  <c:v>0.41980000000000001</c:v>
                </c:pt>
                <c:pt idx="2">
                  <c:v>0.70909999999999995</c:v>
                </c:pt>
                <c:pt idx="3">
                  <c:v>0.73170000000000002</c:v>
                </c:pt>
              </c:numCache>
            </c:numRef>
          </c:yVal>
          <c:bubbleSize>
            <c:numRef>
              <c:f>Sheet1!$C$2:$C$5</c:f>
              <c:numCache>
                <c:formatCode>General</c:formatCode>
                <c:ptCount val="4"/>
                <c:pt idx="0">
                  <c:v>365615.01729999989</c:v>
                </c:pt>
                <c:pt idx="1">
                  <c:v>1046552.1158</c:v>
                </c:pt>
                <c:pt idx="2">
                  <c:v>1171834.1069</c:v>
                </c:pt>
                <c:pt idx="3">
                  <c:v>2266539.6035000002</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AZOR NORMAL 2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532654216987218"/>
        <c:crossBetween val="midCat"/>
      </c:valAx>
      <c:valAx>
        <c:axId val="1011451359"/>
        <c:scaling>
          <c:orientation val="minMax"/>
          <c:max val="1.23804"/>
          <c:min val="9.584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107293122096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DB88A50-3C4C-40FE-9BE4-03FF0D507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589772C-5A93-4A0A-BDCB-E21BF8B36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4802340-70E0-4C91-BF32-C861B7291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B9DC96E-D65B-40BC-9597-008245694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23895B8-F71E-4C2F-A27D-C8A4761EF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2857786-B48D-4BD2-B140-03E8BE76C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BB4ED37-0DA9-45F8-93A9-7D3827BBC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CC974DD-7EA7-493C-991E-A702A9617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29999999999998</c:v>
                </c:pt>
                <c:pt idx="1">
                  <c:v>0.94440000000000002</c:v>
                </c:pt>
                <c:pt idx="2">
                  <c:v>0.44940000000000002</c:v>
                </c:pt>
                <c:pt idx="3">
                  <c:v>0.41270000000000001</c:v>
                </c:pt>
                <c:pt idx="4">
                  <c:v>0.14069999999999999</c:v>
                </c:pt>
                <c:pt idx="5">
                  <c:v>0.10829999999999999</c:v>
                </c:pt>
              </c:numCache>
            </c:numRef>
          </c:xVal>
          <c:yVal>
            <c:numRef>
              <c:f>Sheet1!$B$2:$B$7</c:f>
              <c:numCache>
                <c:formatCode>General</c:formatCode>
                <c:ptCount val="6"/>
                <c:pt idx="0">
                  <c:v>0.49340000000000001</c:v>
                </c:pt>
                <c:pt idx="1">
                  <c:v>0.49109999999999998</c:v>
                </c:pt>
                <c:pt idx="2">
                  <c:v>0.48</c:v>
                </c:pt>
                <c:pt idx="3">
                  <c:v>0.51659999999999995</c:v>
                </c:pt>
                <c:pt idx="4">
                  <c:v>1.04E-2</c:v>
                </c:pt>
                <c:pt idx="5">
                  <c:v>-3.2000000000000002E-3</c:v>
                </c:pt>
              </c:numCache>
            </c:numRef>
          </c:yVal>
          <c:bubbleSize>
            <c:numRef>
              <c:f>Sheet1!$C$2:$C$7</c:f>
              <c:numCache>
                <c:formatCode>General</c:formatCode>
                <c:ptCount val="6"/>
                <c:pt idx="0">
                  <c:v>129385.6139</c:v>
                </c:pt>
                <c:pt idx="1">
                  <c:v>310226.51689999987</c:v>
                </c:pt>
                <c:pt idx="2">
                  <c:v>100468.05989999999</c:v>
                </c:pt>
                <c:pt idx="3">
                  <c:v>141820.57579999999</c:v>
                </c:pt>
                <c:pt idx="4">
                  <c:v>85078.340200000006</c:v>
                </c:pt>
                <c:pt idx="5">
                  <c:v>185958.4334000001</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466126171696821"/>
        <c:crossBetween val="midCat"/>
      </c:valAx>
      <c:valAx>
        <c:axId val="1011451359"/>
        <c:scaling>
          <c:orientation val="minMax"/>
          <c:max val="0.9799199999999999"/>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53851883490417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3391C1C-8383-49B3-8F57-0AA37B2C6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D4FAE85-98F5-4C0B-9532-F8AFA630B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70DBD45-260D-4E76-9D58-93DED78DB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FF30D5A-72D2-4DF9-8775-DDF6EED95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F2AD873-0B25-4E83-AEE5-990832FBE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A7A15AE-D54C-4AF1-A050-09CC28FE8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C37F85A-B806-4233-8BD1-1BE980576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58146F0-658D-4325-99F9-86E5187EB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29999999999998</c:v>
                </c:pt>
                <c:pt idx="1">
                  <c:v>0.94440000000000002</c:v>
                </c:pt>
                <c:pt idx="2">
                  <c:v>0.44940000000000002</c:v>
                </c:pt>
                <c:pt idx="3">
                  <c:v>0.4128</c:v>
                </c:pt>
                <c:pt idx="4">
                  <c:v>0.14069999999999999</c:v>
                </c:pt>
                <c:pt idx="5">
                  <c:v>0.10829999999999999</c:v>
                </c:pt>
              </c:numCache>
            </c:numRef>
          </c:xVal>
          <c:yVal>
            <c:numRef>
              <c:f>Sheet1!$B$2:$B$7</c:f>
              <c:numCache>
                <c:formatCode>General</c:formatCode>
                <c:ptCount val="6"/>
                <c:pt idx="0">
                  <c:v>0.49340000000000001</c:v>
                </c:pt>
                <c:pt idx="1">
                  <c:v>0.49109999999999998</c:v>
                </c:pt>
                <c:pt idx="2">
                  <c:v>0.47970000000000002</c:v>
                </c:pt>
                <c:pt idx="3">
                  <c:v>0.51649999999999996</c:v>
                </c:pt>
                <c:pt idx="4">
                  <c:v>1.0500000000000001E-2</c:v>
                </c:pt>
                <c:pt idx="5">
                  <c:v>-2.5999999999999999E-3</c:v>
                </c:pt>
              </c:numCache>
            </c:numRef>
          </c:yVal>
          <c:bubbleSize>
            <c:numRef>
              <c:f>Sheet1!$C$2:$C$7</c:f>
              <c:numCache>
                <c:formatCode>General</c:formatCode>
                <c:ptCount val="6"/>
                <c:pt idx="0">
                  <c:v>1798622.3696000001</c:v>
                </c:pt>
                <c:pt idx="1">
                  <c:v>4518773.5040000007</c:v>
                </c:pt>
                <c:pt idx="2">
                  <c:v>1614221.3448999999</c:v>
                </c:pt>
                <c:pt idx="3">
                  <c:v>1997336.7135999999</c:v>
                </c:pt>
                <c:pt idx="4">
                  <c:v>1228819.4014000001</c:v>
                </c:pt>
                <c:pt idx="5">
                  <c:v>2298580.1269999999</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958164433314"/>
        <c:crossBetween val="midCat"/>
      </c:valAx>
      <c:valAx>
        <c:axId val="1011451359"/>
        <c:scaling>
          <c:orientation val="minMax"/>
          <c:max val="0.9798"/>
          <c:min val="-0.24207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59615143353048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extLst>
              <c:ext xmlns:c16="http://schemas.microsoft.com/office/drawing/2014/chart" uri="{C3380CC4-5D6E-409C-BE32-E72D297353CC}">
                <c16:uniqueId val="{00000003-CFF5-4D9B-9947-2A90D7752FBB}"/>
              </c:ext>
            </c:extLst>
          </c:dPt>
          <c:dPt>
            <c:idx val="2"/>
            <c:invertIfNegative val="0"/>
            <c:bubble3D val="0"/>
            <c:spPr>
              <a:solidFill>
                <a:srgbClr val="BCBBBB"/>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2B85D7C-B248-4067-A83D-6182083E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3F5A2A7-9F9E-42CA-83F0-C4589CAB1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46797F7-03ED-4F4E-AB24-5B97B15D0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937D167-ED6B-4F37-BC34-70DA7BABE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4EA9683-1BCC-4539-8FD0-DDF157839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6686F76-88E1-4DC1-B293-AAFAFB20E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EC1ED6-79DB-41D4-B15F-2F6E6B193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732299E-385D-46BF-887C-C3E0CC1F2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29999999999998</c:v>
                </c:pt>
                <c:pt idx="1">
                  <c:v>0.94440000000000002</c:v>
                </c:pt>
                <c:pt idx="2">
                  <c:v>0.44940000000000002</c:v>
                </c:pt>
                <c:pt idx="3">
                  <c:v>0.41270000000000001</c:v>
                </c:pt>
                <c:pt idx="4">
                  <c:v>0.14069999999999999</c:v>
                </c:pt>
                <c:pt idx="5">
                  <c:v>0.10829999999999999</c:v>
                </c:pt>
              </c:numCache>
            </c:numRef>
          </c:xVal>
          <c:yVal>
            <c:numRef>
              <c:f>Sheet1!$B$2:$B$7</c:f>
              <c:numCache>
                <c:formatCode>General</c:formatCode>
                <c:ptCount val="6"/>
                <c:pt idx="0">
                  <c:v>0.49359999999999998</c:v>
                </c:pt>
                <c:pt idx="1">
                  <c:v>0.4909</c:v>
                </c:pt>
                <c:pt idx="2">
                  <c:v>0.47889999999999999</c:v>
                </c:pt>
                <c:pt idx="3">
                  <c:v>0.51580000000000004</c:v>
                </c:pt>
                <c:pt idx="4">
                  <c:v>1.2E-2</c:v>
                </c:pt>
                <c:pt idx="5">
                  <c:v>-2.2000000000000001E-3</c:v>
                </c:pt>
              </c:numCache>
            </c:numRef>
          </c:yVal>
          <c:bubbleSize>
            <c:numRef>
              <c:f>Sheet1!$C$2:$C$7</c:f>
              <c:numCache>
                <c:formatCode>General</c:formatCode>
                <c:ptCount val="6"/>
                <c:pt idx="0">
                  <c:v>119428.2879</c:v>
                </c:pt>
                <c:pt idx="1">
                  <c:v>272475.62770000001</c:v>
                </c:pt>
                <c:pt idx="2">
                  <c:v>106130.8149</c:v>
                </c:pt>
                <c:pt idx="3">
                  <c:v>125001.96189999999</c:v>
                </c:pt>
                <c:pt idx="4">
                  <c:v>114348.9244</c:v>
                </c:pt>
                <c:pt idx="5">
                  <c:v>174687.43780000001</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878648307854525"/>
        <c:crossBetween val="midCat"/>
      </c:valAx>
      <c:valAx>
        <c:axId val="1011451359"/>
        <c:scaling>
          <c:orientation val="minMax"/>
          <c:max val="0.97896000000000005"/>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29579829337894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6A2429B-EEFF-430D-A5ED-CF9F4DA2E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D332807-0124-458B-A7F9-F4C84C46B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1293ADAF-0E1F-458B-A930-15802B9C2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2EA2DDDF-978E-44C2-820D-E30758905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064C3A3-4668-4D0A-AF8C-5F2AF30AC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99F8E80-E3F3-40E2-A84B-9FD79A8FD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8F3828C-6D30-4F4A-AF38-27DF1A9A3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90BD220-5539-4837-88EB-2AF550574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29559999999999997</c:v>
                </c:pt>
              </c:numCache>
            </c:numRef>
          </c:xVal>
          <c:yVal>
            <c:numRef>
              <c:f>Sheet1!$B$2:$B$2</c:f>
              <c:numCache>
                <c:formatCode>General</c:formatCode>
                <c:ptCount val="1"/>
                <c:pt idx="0">
                  <c:v>0.36559999999999998</c:v>
                </c:pt>
              </c:numCache>
            </c:numRef>
          </c:yVal>
          <c:bubbleSize>
            <c:numRef>
              <c:f>Sheet1!$C$2:$C$2</c:f>
              <c:numCache>
                <c:formatCode>General</c:formatCode>
                <c:ptCount val="1"/>
                <c:pt idx="0">
                  <c:v>13456423.158500019</c:v>
                </c:pt>
              </c:numCache>
            </c:numRef>
          </c:bubbleSize>
          <c:bubble3D val="0"/>
          <c:extLst>
            <c:ext xmlns:c15="http://schemas.microsoft.com/office/drawing/2012/chart" uri="{02D57815-91ED-43cb-92C2-25804820EDAC}">
              <c15:datalabelsRange>
                <c15:f>Sheet1!$E$2:$E$29</c15:f>
                <c15:dlblRangeCache>
                  <c:ptCount val="28"/>
                  <c:pt idx="0">
                    <c:v>Walmar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9999999999998"/>
        <c:crossBetween val="midCat"/>
      </c:valAx>
      <c:valAx>
        <c:axId val="1011451359"/>
        <c:scaling>
          <c:orientation val="minMax"/>
          <c:max val="0.79871999999999999"/>
          <c:min val="5.247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599999999999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CB50752-F395-42ED-8B3D-9E4529BBD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21D8E46-D8D9-4ACB-BCF8-5FA44CF70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5AA7502-9BEC-4AC1-9643-AB93FEE37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E7C2C4-DB5E-47FE-9820-31FFBD91F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3703F7D-1107-4379-B78A-A5B3FAC63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930D96E-3263-4189-BC77-1373DF288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BFF9F06-7EA0-4003-A0EC-064881AC8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DCE3B3FE-26B6-48FA-8F23-88AC5984B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29999999999998</c:v>
                </c:pt>
                <c:pt idx="1">
                  <c:v>0.94440000000000002</c:v>
                </c:pt>
                <c:pt idx="2">
                  <c:v>0.44940000000000002</c:v>
                </c:pt>
                <c:pt idx="3">
                  <c:v>0.4128</c:v>
                </c:pt>
                <c:pt idx="4">
                  <c:v>0.14069999999999999</c:v>
                </c:pt>
                <c:pt idx="5">
                  <c:v>0.10829999999999999</c:v>
                </c:pt>
              </c:numCache>
            </c:numRef>
          </c:xVal>
          <c:yVal>
            <c:numRef>
              <c:f>Sheet1!$B$2:$B$7</c:f>
              <c:numCache>
                <c:formatCode>General</c:formatCode>
                <c:ptCount val="6"/>
                <c:pt idx="0">
                  <c:v>0.49340000000000001</c:v>
                </c:pt>
                <c:pt idx="1">
                  <c:v>0.49109999999999998</c:v>
                </c:pt>
                <c:pt idx="2">
                  <c:v>0.4798</c:v>
                </c:pt>
                <c:pt idx="3">
                  <c:v>0.51659999999999995</c:v>
                </c:pt>
                <c:pt idx="4">
                  <c:v>1.04E-2</c:v>
                </c:pt>
                <c:pt idx="5">
                  <c:v>-2.5999999999999999E-3</c:v>
                </c:pt>
              </c:numCache>
            </c:numRef>
          </c:yVal>
          <c:bubbleSize>
            <c:numRef>
              <c:f>Sheet1!$C$2:$C$7</c:f>
              <c:numCache>
                <c:formatCode>General</c:formatCode>
                <c:ptCount val="6"/>
                <c:pt idx="0">
                  <c:v>1549808.4678</c:v>
                </c:pt>
                <c:pt idx="1">
                  <c:v>3936071.359399999</c:v>
                </c:pt>
                <c:pt idx="2">
                  <c:v>1407622.4701</c:v>
                </c:pt>
                <c:pt idx="3">
                  <c:v>1730514.1758999999</c:v>
                </c:pt>
                <c:pt idx="4">
                  <c:v>1029392.1368</c:v>
                </c:pt>
                <c:pt idx="5">
                  <c:v>1937934.2557999999</c:v>
                </c:pt>
              </c:numCache>
            </c:numRef>
          </c:bubbleSize>
          <c:bubble3D val="0"/>
          <c:extLst>
            <c:ext xmlns:c15="http://schemas.microsoft.com/office/drawing/2012/chart" uri="{02D57815-91ED-43cb-92C2-25804820EDAC}">
              <c15:datalabelsRange>
                <c15:f>Sheet1!$E$2:$E$29</c15:f>
                <c15:dlblRangeCache>
                  <c:ptCount val="28"/>
                  <c:pt idx="0">
                    <c:v>EQUATE CALIBER 3 3 BLADE DISPOSABLE NORMAL 3CT</c:v>
                  </c:pt>
                  <c:pt idx="1">
                    <c:v>EQUATE CALIBER 5 5 BLADE DISPOSABLE NORMAL 3CT</c:v>
                  </c:pt>
                  <c:pt idx="2">
                    <c:v>EQUATE SPEED 3 SENSITIVE GREEN 3 BLADE DISPOSABLE SENSITIVE 4CT</c:v>
                  </c:pt>
                  <c:pt idx="3">
                    <c:v>EQUATE SPEED 3 SENSITIVE GREEN 3 BLADE DISPOSABLE SENSITIVE 8CT</c:v>
                  </c:pt>
                  <c:pt idx="4">
                    <c:v>EQUATE TB (TWIN BLADE) BLUE 2 BLADE DISPOSABLE NORMAL 5CT</c:v>
                  </c:pt>
                  <c:pt idx="5">
                    <c:v>EQUATE TB (TWIN BLADE) BLUE 2 BLADE DISPOSABLE NORMAL 1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861199997818633"/>
        <c:crossBetween val="midCat"/>
      </c:valAx>
      <c:valAx>
        <c:axId val="1011451359"/>
        <c:scaling>
          <c:orientation val="minMax"/>
          <c:max val="0.9799199999999999"/>
          <c:min val="-0.24207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98174777607362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9802C4D-9FDF-451D-B075-75A5CE126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6C420D7-F948-4B2C-9057-7664A2405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04F648ED-388D-46FC-8C44-1E5DE2020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2C14F8E9-7D3C-42B1-A5D9-8BBD2D95A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44E5486-BEF6-4250-99FF-F8904E55C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88EC12C-F7AB-4573-B10F-6ACC0F8BC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C04E5EE4-9CFC-4592-BB76-B1C9D8836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7AB3366-3FC2-46EB-9A3B-B6FB3C951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5999999999999</c:v>
                </c:pt>
              </c:numCache>
            </c:numRef>
          </c:xVal>
          <c:yVal>
            <c:numRef>
              <c:f>Sheet1!$B$2:$B$2</c:f>
              <c:numCache>
                <c:formatCode>General</c:formatCode>
                <c:ptCount val="1"/>
                <c:pt idx="0">
                  <c:v>0.41949999999999998</c:v>
                </c:pt>
              </c:numCache>
            </c:numRef>
          </c:yVal>
          <c:bubbleSize>
            <c:numRef>
              <c:f>Sheet1!$C$2:$C$2</c:f>
              <c:numCache>
                <c:formatCode>General</c:formatCode>
                <c:ptCount val="1"/>
                <c:pt idx="0">
                  <c:v>78650.092899999989</c:v>
                </c:pt>
              </c:numCache>
            </c:numRef>
          </c:bubbleSize>
          <c:bubble3D val="0"/>
          <c:extLst>
            <c:ext xmlns:c15="http://schemas.microsoft.com/office/drawing/2012/chart" uri="{02D57815-91ED-43cb-92C2-25804820EDAC}">
              <c15:datalabelsRange>
                <c15:f>Sheet1!$E$2:$E$29</c15:f>
                <c15:dlblRangeCache>
                  <c:ptCount val="28"/>
                  <c:pt idx="0">
                    <c:v>EQUATE EASY FIT 5 5 BLADE RAZOR NORMAL 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49999999999998"/>
        <c:crossBetween val="midCat"/>
      </c:valAx>
      <c:valAx>
        <c:axId val="1011451359"/>
        <c:scaling>
          <c:orientation val="minMax"/>
          <c:max val="0.86340000000000006"/>
          <c:min val="9.560000000000000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599999999999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0D55C37-1FF1-423E-80FE-ABFEFEAF0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24F8278-7565-4C58-955D-1C5EC9693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96C5E738-C0AF-45A7-94CA-C6AA5437E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6B62387B-6645-4302-967E-34DBADA84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B97C8174-CAA9-4B5C-9E8F-A99E61A5F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72E1CF72-25E8-4E73-9B3F-34EF1BFBC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5961D7E-2066-470E-A5C0-FF5D680A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09BEB8B-2F5A-4E30-A205-603F98475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0000000000001</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9</c15:f>
                <c15:dlblRangeCache>
                  <c:ptCount val="28"/>
                  <c:pt idx="0">
                    <c:v>EQUATE EASY FIT 5 5 BLADE RAZOR NORMAL 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0000000000001"/>
        <c:crossBetween val="midCat"/>
      </c:valAx>
      <c:valAx>
        <c:axId val="1011451359"/>
        <c:scaling>
          <c:orientation val="minMax"/>
          <c:max val="0.86375999999999997"/>
          <c:min val="9.584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D038EA7-4605-4064-AF97-6032CC907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973A668-84DD-4CBA-8D0F-98F8494EC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040B5C52-D684-4F84-B99D-3FFAB2CACC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A0108EAC-E027-473D-8A0A-D5B338222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F296642F-872B-47AA-ADA6-7472AB2BF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44C9AAE-3E5E-40BB-A1ED-7EDED2DFB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B2D6B10-7E89-4E08-86E3-2BC28EA79E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9DCDB74-1502-4F48-AF17-DC64AB3B0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999999999998</c:v>
                </c:pt>
              </c:numCache>
            </c:numRef>
          </c:xVal>
          <c:yVal>
            <c:numRef>
              <c:f>Sheet1!$B$2:$B$2</c:f>
              <c:numCache>
                <c:formatCode>General</c:formatCode>
                <c:ptCount val="1"/>
                <c:pt idx="0">
                  <c:v>0.41980000000000001</c:v>
                </c:pt>
              </c:numCache>
            </c:numRef>
          </c:yVal>
          <c:bubbleSize>
            <c:numRef>
              <c:f>Sheet1!$C$2:$C$2</c:f>
              <c:numCache>
                <c:formatCode>General</c:formatCode>
                <c:ptCount val="1"/>
                <c:pt idx="0">
                  <c:v>1046552.1158</c:v>
                </c:pt>
              </c:numCache>
            </c:numRef>
          </c:bubbleSize>
          <c:bubble3D val="0"/>
          <c:extLst>
            <c:ext xmlns:c15="http://schemas.microsoft.com/office/drawing/2012/chart" uri="{02D57815-91ED-43cb-92C2-25804820EDAC}">
              <c15:datalabelsRange>
                <c15:f>Sheet1!$E$2:$E$29</c15:f>
                <c15:dlblRangeCache>
                  <c:ptCount val="28"/>
                  <c:pt idx="0">
                    <c:v>EQUATE EASY FIT 5 5 BLADE RAZOR NORMAL 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0000000000001"/>
        <c:crossBetween val="midCat"/>
      </c:valAx>
      <c:valAx>
        <c:axId val="1011451359"/>
        <c:scaling>
          <c:orientation val="minMax"/>
          <c:max val="0.86375999999999997"/>
          <c:min val="9.584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99999999999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7101A40-D858-430A-9753-F97C74502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18A5A34-0757-4C81-87C1-98FFB5078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3ACEAE85-AEF7-4EDD-94B1-2A8B1B59B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52BF537A-E04A-4093-B322-D152DB7E0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F7C34263-C043-4AF2-8E1A-96CE517CE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FEA4548-70B0-43AC-8868-2C2B3D3BD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6A7BF30-1766-41CE-B359-DE8BCB6D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77090E7-BD30-4D99-AB0A-D29E2F54B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9</c:v>
                </c:pt>
              </c:numCache>
            </c:numRef>
          </c:xVal>
          <c:yVal>
            <c:numRef>
              <c:f>Sheet1!$B$2:$B$2</c:f>
              <c:numCache>
                <c:formatCode>General</c:formatCode>
                <c:ptCount val="1"/>
                <c:pt idx="0">
                  <c:v>0.4199</c:v>
                </c:pt>
              </c:numCache>
            </c:numRef>
          </c:yVal>
          <c:bubbleSize>
            <c:numRef>
              <c:f>Sheet1!$C$2:$C$2</c:f>
              <c:numCache>
                <c:formatCode>General</c:formatCode>
                <c:ptCount val="1"/>
                <c:pt idx="0">
                  <c:v>89489.170399999988</c:v>
                </c:pt>
              </c:numCache>
            </c:numRef>
          </c:bubbleSize>
          <c:bubble3D val="0"/>
          <c:extLst>
            <c:ext xmlns:c15="http://schemas.microsoft.com/office/drawing/2012/chart" uri="{02D57815-91ED-43cb-92C2-25804820EDAC}">
              <c15:datalabelsRange>
                <c15:f>Sheet1!$E$2:$E$29</c15:f>
                <c15:dlblRangeCache>
                  <c:ptCount val="28"/>
                  <c:pt idx="0">
                    <c:v>EQUATE EASY FIT 5 5 BLADE RAZOR NORMAL 2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9"/>
        <c:crossBetween val="midCat"/>
      </c:valAx>
      <c:valAx>
        <c:axId val="1011451359"/>
        <c:scaling>
          <c:orientation val="minMax"/>
          <c:max val="0.86387999999999998"/>
          <c:min val="9.5920000000000005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894D34C-A025-4910-8FA9-6C2F0B881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D1F5183-A81B-4846-97A5-3E6966DE3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99BD0B-6EF8-494B-93E6-16CB0E292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1A06544-F7D0-412C-A4B7-500793C9B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03CCCB4-C38E-4061-9B6B-3B4F0005D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DAB6C991-26CD-4374-83A0-65F074BB9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9575BBE-0CA5-4CC8-9AEE-C16F138F7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9D4AE08-3F76-426A-809B-6C890BEAC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09999999999997</c:v>
                </c:pt>
                <c:pt idx="1">
                  <c:v>0.91600000000000004</c:v>
                </c:pt>
                <c:pt idx="2">
                  <c:v>1.1416999999999999</c:v>
                </c:pt>
                <c:pt idx="3">
                  <c:v>1.2749999999999999</c:v>
                </c:pt>
              </c:numCache>
            </c:numRef>
          </c:xVal>
          <c:yVal>
            <c:numRef>
              <c:f>Sheet1!$B$2:$B$5</c:f>
              <c:numCache>
                <c:formatCode>General</c:formatCode>
                <c:ptCount val="4"/>
                <c:pt idx="0">
                  <c:v>0.68369999999999997</c:v>
                </c:pt>
                <c:pt idx="1">
                  <c:v>0.73860000000000003</c:v>
                </c:pt>
                <c:pt idx="2">
                  <c:v>0.70909999999999995</c:v>
                </c:pt>
                <c:pt idx="3">
                  <c:v>0.73170000000000002</c:v>
                </c:pt>
              </c:numCache>
            </c:numRef>
          </c:yVal>
          <c:bubbleSize>
            <c:numRef>
              <c:f>Sheet1!$C$2:$C$5</c:f>
              <c:numCache>
                <c:formatCode>General</c:formatCode>
                <c:ptCount val="4"/>
                <c:pt idx="0">
                  <c:v>423999.08850000001</c:v>
                </c:pt>
                <c:pt idx="1">
                  <c:v>1094.5673999999999</c:v>
                </c:pt>
                <c:pt idx="2">
                  <c:v>1343734.6551000001</c:v>
                </c:pt>
                <c:pt idx="3">
                  <c:v>2611438.9336000001</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CALIBER 5 5 BLADE REFILL NORMAL 4CT</c:v>
                  </c:pt>
                  <c:pt idx="2">
                    <c:v>EQUATE EASY FIT 5 5 BLADE REFILL NORMAL 8CT</c:v>
                  </c:pt>
                  <c:pt idx="3">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243997767056"/>
        <c:crossBetween val="midCat"/>
      </c:valAx>
      <c:valAx>
        <c:axId val="1011451359"/>
        <c:scaling>
          <c:orientation val="minMax"/>
          <c:max val="1.2463199999999999"/>
          <c:min val="0.3069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0850633824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5AEA2C7-B255-4BE3-BD3A-0B9412372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F74E277-9924-4639-ABD1-E0D8768AD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ED567E9-5F53-4926-8D2C-730805CA7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5F71669-EA2D-4F2B-9A96-DD3CC653D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9EFFC352-A0F1-474F-A077-5CA8819F4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36AC2C4C-EA4B-4178-B5CB-E777A685E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2ADE97E-555D-4D81-A19B-0B16E3A7A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042CCC3-7448-4159-AE05-432F59300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50000000000003</c:v>
                </c:pt>
                <c:pt idx="1">
                  <c:v>1.1413</c:v>
                </c:pt>
                <c:pt idx="2">
                  <c:v>1.2748999999999999</c:v>
                </c:pt>
              </c:numCache>
            </c:numRef>
          </c:xVal>
          <c:yVal>
            <c:numRef>
              <c:f>Sheet1!$B$2:$B$4</c:f>
              <c:numCache>
                <c:formatCode>General</c:formatCode>
                <c:ptCount val="3"/>
                <c:pt idx="0">
                  <c:v>0.68369999999999997</c:v>
                </c:pt>
                <c:pt idx="1">
                  <c:v>0.70909999999999995</c:v>
                </c:pt>
                <c:pt idx="2">
                  <c:v>0.73170000000000002</c:v>
                </c:pt>
              </c:numCache>
            </c:numRef>
          </c:yVal>
          <c:bubbleSize>
            <c:numRef>
              <c:f>Sheet1!$C$2:$C$4</c:f>
              <c:numCache>
                <c:formatCode>General</c:formatCode>
                <c:ptCount val="3"/>
                <c:pt idx="0">
                  <c:v>30082.322400000001</c:v>
                </c:pt>
                <c:pt idx="1">
                  <c:v>85603.147900000011</c:v>
                </c:pt>
                <c:pt idx="2">
                  <c:v>162101.8536</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1953752055239106"/>
        <c:crossBetween val="midCat"/>
      </c:valAx>
      <c:valAx>
        <c:axId val="1011451359"/>
        <c:scaling>
          <c:orientation val="minMax"/>
          <c:max val="1.23804"/>
          <c:min val="0.3069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130690871351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099848B-1A64-4B44-983A-616A463FD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F831842-68E2-4936-9890-46DEA191F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7E546D0-3EE3-465E-A741-799345F39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B28DE9F-C5F4-4FF4-9221-3BF2FA797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EF6F8F62-C330-449C-88DC-211325AF3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A4F034D8-6176-4DF1-AB22-A1EDBB977C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D058319E-3AFA-481D-B0FD-233C564D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2E54E9A-3B4A-4A97-B957-D78CDFAAF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619999999999996</c:v>
                </c:pt>
                <c:pt idx="1">
                  <c:v>1.1417999999999999</c:v>
                </c:pt>
                <c:pt idx="2">
                  <c:v>1.2749999999999999</c:v>
                </c:pt>
              </c:numCache>
            </c:numRef>
          </c:xVal>
          <c:yVal>
            <c:numRef>
              <c:f>Sheet1!$B$2:$B$4</c:f>
              <c:numCache>
                <c:formatCode>General</c:formatCode>
                <c:ptCount val="3"/>
                <c:pt idx="0">
                  <c:v>0.68369999999999997</c:v>
                </c:pt>
                <c:pt idx="1">
                  <c:v>0.70909999999999995</c:v>
                </c:pt>
                <c:pt idx="2">
                  <c:v>0.73170000000000002</c:v>
                </c:pt>
              </c:numCache>
            </c:numRef>
          </c:yVal>
          <c:bubbleSize>
            <c:numRef>
              <c:f>Sheet1!$C$2:$C$4</c:f>
              <c:numCache>
                <c:formatCode>General</c:formatCode>
                <c:ptCount val="3"/>
                <c:pt idx="0">
                  <c:v>365615.01729999989</c:v>
                </c:pt>
                <c:pt idx="1">
                  <c:v>1171834.1069</c:v>
                </c:pt>
                <c:pt idx="2">
                  <c:v>2266539.6035000002</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452625432366"/>
        <c:crossBetween val="midCat"/>
      </c:valAx>
      <c:valAx>
        <c:axId val="1011451359"/>
        <c:scaling>
          <c:orientation val="minMax"/>
          <c:max val="1.23804"/>
          <c:min val="0.3069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24846044463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ED38BCE-7FE6-4A58-91BF-903BDDCE0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8237A32-D7D3-4FAE-B219-898E92B54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CA98486-29B6-4B72-8FD6-5BD081234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848ABA3-E5C9-4256-BB62-66B90F35E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FA9C5BC8-3EDD-4869-AD99-8A9BCC6E0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AD1668A8-A555-4DBD-B7AF-83B351906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335A9F6-A329-4F3F-A268-2ED76C13D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521FDAA-8E8F-43D7-BF6A-E8B1938E8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8</c:v>
                </c:pt>
                <c:pt idx="1">
                  <c:v>1.1412</c:v>
                </c:pt>
                <c:pt idx="2">
                  <c:v>1.2747999999999999</c:v>
                </c:pt>
              </c:numCache>
            </c:numRef>
          </c:xVal>
          <c:yVal>
            <c:numRef>
              <c:f>Sheet1!$B$2:$B$4</c:f>
              <c:numCache>
                <c:formatCode>General</c:formatCode>
                <c:ptCount val="3"/>
                <c:pt idx="0">
                  <c:v>0.68369999999999997</c:v>
                </c:pt>
                <c:pt idx="1">
                  <c:v>0.70909999999999995</c:v>
                </c:pt>
                <c:pt idx="2">
                  <c:v>0.73180000000000001</c:v>
                </c:pt>
              </c:numCache>
            </c:numRef>
          </c:yVal>
          <c:bubbleSize>
            <c:numRef>
              <c:f>Sheet1!$C$2:$C$4</c:f>
              <c:numCache>
                <c:formatCode>General</c:formatCode>
                <c:ptCount val="3"/>
                <c:pt idx="0">
                  <c:v>28301.748800000001</c:v>
                </c:pt>
                <c:pt idx="1">
                  <c:v>86297.400300000008</c:v>
                </c:pt>
                <c:pt idx="2">
                  <c:v>182797.47649999999</c:v>
                </c:pt>
              </c:numCache>
            </c:numRef>
          </c:bubbleSize>
          <c:bubble3D val="0"/>
          <c:extLst>
            <c:ext xmlns:c15="http://schemas.microsoft.com/office/drawing/2012/chart" uri="{02D57815-91ED-43cb-92C2-25804820EDAC}">
              <c15:datalabelsRange>
                <c15:f>Sheet1!$E$2:$E$29</c15:f>
                <c15:dlblRangeCache>
                  <c:ptCount val="28"/>
                  <c:pt idx="0">
                    <c:v>EQUATE EASY FIT 5 5 BLADE REFILL NORMAL 12CT</c:v>
                  </c:pt>
                  <c:pt idx="1">
                    <c:v>EQUATE EASY FIT 5 5 BLADE REFILL NORMAL 8CT</c:v>
                  </c:pt>
                  <c:pt idx="2">
                    <c:v>EQUATE EASY FIT 5 5 BLADE REFILL NORMAL 4C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63556564439368"/>
        <c:crossBetween val="midCat"/>
      </c:valAx>
      <c:valAx>
        <c:axId val="1011451359"/>
        <c:scaling>
          <c:orientation val="minMax"/>
          <c:max val="1.2381599999999999"/>
          <c:min val="0.30696000000000001"/>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757813582804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99D106A-AC17-4BAF-BE09-802120E6D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5CC4A49-5146-4871-9117-DC2DB803B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A2BC0ED5-81DD-4F43-A3E7-756560E6D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E121908C-D696-4C38-AD81-100F7C322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3324959D-44A2-4A1F-9F54-A492B87DA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7671065D-9AE8-4098-874F-B2BECC674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E2328394-77C5-4D9A-B78D-58C2EA5A1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E16FAF9-9965-4DCE-AC0D-E2840A24C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38290000000000002</c:v>
                </c:pt>
              </c:numCache>
            </c:numRef>
          </c:xVal>
          <c:yVal>
            <c:numRef>
              <c:f>Sheet1!$B$2:$B$2</c:f>
              <c:numCache>
                <c:formatCode>General</c:formatCode>
                <c:ptCount val="1"/>
                <c:pt idx="0">
                  <c:v>0.4506</c:v>
                </c:pt>
              </c:numCache>
            </c:numRef>
          </c:yVal>
          <c:bubbleSize>
            <c:numRef>
              <c:f>Sheet1!$C$2:$C$2</c:f>
              <c:numCache>
                <c:formatCode>General</c:formatCode>
                <c:ptCount val="1"/>
                <c:pt idx="0">
                  <c:v>19051381.78219999</c:v>
                </c:pt>
              </c:numCache>
            </c:numRef>
          </c:bubbleSize>
          <c:bubble3D val="0"/>
          <c:extLst>
            <c:ext xmlns:c15="http://schemas.microsoft.com/office/drawing/2012/chart" uri="{02D57815-91ED-43cb-92C2-25804820EDAC}">
              <c15:datalabelsRange>
                <c15:f>Sheet1!$E$2:$E$29</c15:f>
                <c15:dlblRangeCache>
                  <c:ptCount val="28"/>
                  <c:pt idx="0">
                    <c:v>Walmar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6"/>
        <c:crossBetween val="midCat"/>
      </c:valAx>
      <c:valAx>
        <c:axId val="1011451359"/>
        <c:scaling>
          <c:orientation val="minMax"/>
          <c:max val="0.90071999999999985"/>
          <c:min val="0.1204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29000000000000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F9A5C0D-8CC0-4EC0-AAF4-AA6058B2B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0DD643F-5E27-4B73-9E0F-6FFE7BAB0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FF5-4D9B-9947-2A90D7752FBB}"/>
                </c:ext>
              </c:extLst>
            </c:dLbl>
            <c:dLbl>
              <c:idx val="2"/>
              <c:tx>
                <c:rich>
                  <a:bodyPr/>
                  <a:lstStyle/>
                  <a:p>
                    <a:fld id="{93F907E5-D6BF-4588-A09A-A1C26B338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A198FDC1-7A92-4D33-9C65-E684FC3B5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7577F180-F508-44D6-97CC-905987CA77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C6CB2062-9517-48EB-AE7B-E128BE108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94D6F5D-4DC0-40F6-A2F5-333D5CE80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67F7BA0-D2EA-4218-A3F6-DC4D0C903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0000000000001</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9</c15:f>
                <c15:dlblRangeCache>
                  <c:ptCount val="28"/>
                  <c:pt idx="0">
                    <c:v>Walmart</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0000000000001"/>
        <c:crossBetween val="midCat"/>
      </c:valAx>
      <c:valAx>
        <c:axId val="1011451359"/>
        <c:scaling>
          <c:orientation val="minMax"/>
          <c:max val="0.86375999999999997"/>
          <c:min val="9.584000000000002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7A0A650-10DD-4AE8-9A2E-0C6C3C7E6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E516D7D-86F8-4B0E-B5AB-9E63F11FE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C4A0DB1-AD4A-4184-B6B1-368CFAB6A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41846FB-599E-4141-84AC-40D70A280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C4CCF153-8856-4F3F-A12A-5298D3BC4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11D1A245-8695-4B40-97EA-9A3E425B9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88831A8B-B4F6-438D-BA9E-8F6AE5E4A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C4DBE27-5820-4BE3-90F5-DBF193417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365</c:v>
                </c:pt>
                <c:pt idx="1">
                  <c:v>1.3228</c:v>
                </c:pt>
                <c:pt idx="2">
                  <c:v>1.3240000000000001</c:v>
                </c:pt>
              </c:numCache>
            </c:numRef>
          </c:xVal>
          <c:yVal>
            <c:numRef>
              <c:f>Sheet1!$B$2:$B$4</c:f>
              <c:numCache>
                <c:formatCode>General</c:formatCode>
                <c:ptCount val="3"/>
                <c:pt idx="0">
                  <c:v>0.65110000000000001</c:v>
                </c:pt>
                <c:pt idx="1">
                  <c:v>0.65329999999999999</c:v>
                </c:pt>
                <c:pt idx="2">
                  <c:v>0.65529999999999999</c:v>
                </c:pt>
              </c:numCache>
            </c:numRef>
          </c:yVal>
          <c:bubbleSize>
            <c:numRef>
              <c:f>Sheet1!$C$2:$C$4</c:f>
              <c:numCache>
                <c:formatCode>General</c:formatCode>
                <c:ptCount val="3"/>
                <c:pt idx="0">
                  <c:v>386945.97839999991</c:v>
                </c:pt>
                <c:pt idx="1">
                  <c:v>356505.12199999997</c:v>
                </c:pt>
                <c:pt idx="2">
                  <c:v>4851507.5233000014</c:v>
                </c:pt>
              </c:numCache>
            </c:numRef>
          </c:bubbleSize>
          <c:bubble3D val="0"/>
          <c:extLst>
            <c:ext xmlns:c15="http://schemas.microsoft.com/office/drawing/2012/chart" uri="{02D57815-91ED-43cb-92C2-25804820EDAC}">
              <c15:datalabelsRange>
                <c15:f>Sheet1!$E$2:$E$29</c15:f>
                <c15:dlblRangeCache>
                  <c:ptCount val="28"/>
                  <c:pt idx="0">
                    <c:v>Walmart Nm Corp</c:v>
                  </c:pt>
                  <c:pt idx="1">
                    <c:v>Walmart Div1 Corp</c:v>
                  </c:pt>
                  <c:pt idx="2">
                    <c:v>Walmart Sc Cor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88209103756811"/>
        <c:crossBetween val="midCat"/>
      </c:valAx>
      <c:valAx>
        <c:axId val="1011451359"/>
        <c:scaling>
          <c:orientation val="minMax"/>
          <c:max val="1.14636"/>
          <c:min val="0.2808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78803417149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B710E5B-FB80-4906-B176-EEBF2462F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3009E42-90FA-4D0C-872B-FFB41F9D4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F4950F9-8E42-40A6-B09B-95F431BAD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22041DC-3470-4B47-9062-CF25676F6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403F0800-AD79-4227-B69B-2CF563934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002C533-F0D5-4B3B-9268-9B4232326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78C08E39-4ECD-440D-9A4E-A07B7EFB3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B5EE19C5-BD66-4053-B8C9-044813AE4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90000000000001</c:v>
                </c:pt>
                <c:pt idx="1">
                  <c:v>1.1920999999999999</c:v>
                </c:pt>
                <c:pt idx="2">
                  <c:v>1.1967000000000001</c:v>
                </c:pt>
              </c:numCache>
            </c:numRef>
          </c:xVal>
          <c:yVal>
            <c:numRef>
              <c:f>Sheet1!$B$2:$B$4</c:f>
              <c:numCache>
                <c:formatCode>General</c:formatCode>
                <c:ptCount val="3"/>
                <c:pt idx="0">
                  <c:v>0.72060000000000002</c:v>
                </c:pt>
                <c:pt idx="1">
                  <c:v>0.71950000000000003</c:v>
                </c:pt>
                <c:pt idx="2">
                  <c:v>0.72009999999999996</c:v>
                </c:pt>
              </c:numCache>
            </c:numRef>
          </c:yVal>
          <c:bubbleSize>
            <c:numRef>
              <c:f>Sheet1!$C$2:$C$4</c:f>
              <c:numCache>
                <c:formatCode>General</c:formatCode>
                <c:ptCount val="3"/>
                <c:pt idx="0">
                  <c:v>297456.80800000002</c:v>
                </c:pt>
                <c:pt idx="1">
                  <c:v>277855.02909999999</c:v>
                </c:pt>
                <c:pt idx="2">
                  <c:v>3804955.4075000002</c:v>
                </c:pt>
              </c:numCache>
            </c:numRef>
          </c:bubbleSize>
          <c:bubble3D val="0"/>
          <c:extLst>
            <c:ext xmlns:c15="http://schemas.microsoft.com/office/drawing/2012/chart" uri="{02D57815-91ED-43cb-92C2-25804820EDAC}">
              <c15:datalabelsRange>
                <c15:f>Sheet1!$E$2:$E$29</c15:f>
                <c15:dlblRangeCache>
                  <c:ptCount val="28"/>
                  <c:pt idx="0">
                    <c:v>Walmart Nm Corp</c:v>
                  </c:pt>
                  <c:pt idx="1">
                    <c:v>Walmart Div1 Corp</c:v>
                  </c:pt>
                  <c:pt idx="2">
                    <c:v>Walmart Sc Cor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589417438347"/>
        <c:crossBetween val="midCat"/>
      </c:valAx>
      <c:valAx>
        <c:axId val="1011451359"/>
        <c:scaling>
          <c:orientation val="minMax"/>
          <c:max val="1.2247199999999998"/>
          <c:min val="0.3356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6439583653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CBBBB"/>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9A3ACB8-FCFB-4BFC-8CC5-C6F6C4799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584184B-C0E7-41CC-A3F2-524B5F1B4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C61492B-C238-4B6D-90D5-E6D6992F8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6F7BDB7-C08D-4B27-9501-6C9D4C722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4F1385A9-384C-4651-9021-66299534A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885B35A5-03B1-40F6-8884-BBA9BA011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4ABFE1B6-6AE9-4F9D-8E64-212F62D96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84A9C02-9B57-4D74-B76D-4AA19326A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26750000000000002</c:v>
                </c:pt>
                <c:pt idx="1">
                  <c:v>0.28139999999999998</c:v>
                </c:pt>
                <c:pt idx="2">
                  <c:v>0.29930000000000001</c:v>
                </c:pt>
              </c:numCache>
            </c:numRef>
          </c:xVal>
          <c:yVal>
            <c:numRef>
              <c:f>Sheet1!$B$2:$B$4</c:f>
              <c:numCache>
                <c:formatCode>General</c:formatCode>
                <c:ptCount val="3"/>
                <c:pt idx="0">
                  <c:v>0.33879999999999999</c:v>
                </c:pt>
                <c:pt idx="1">
                  <c:v>0.35460000000000003</c:v>
                </c:pt>
                <c:pt idx="2">
                  <c:v>0.36859999999999998</c:v>
                </c:pt>
              </c:numCache>
            </c:numRef>
          </c:yVal>
          <c:bubbleSize>
            <c:numRef>
              <c:f>Sheet1!$C$2:$C$4</c:f>
              <c:numCache>
                <c:formatCode>General</c:formatCode>
                <c:ptCount val="3"/>
                <c:pt idx="0">
                  <c:v>912079.55159999989</c:v>
                </c:pt>
                <c:pt idx="1">
                  <c:v>952941.43830000027</c:v>
                </c:pt>
                <c:pt idx="2">
                  <c:v>11591402.16860001</c:v>
                </c:pt>
              </c:numCache>
            </c:numRef>
          </c:bubbleSize>
          <c:bubble3D val="0"/>
          <c:extLst>
            <c:ext xmlns:c15="http://schemas.microsoft.com/office/drawing/2012/chart" uri="{02D57815-91ED-43cb-92C2-25804820EDAC}">
              <c15:datalabelsRange>
                <c15:f>Sheet1!$E$2:$E$29</c15:f>
                <c15:dlblRangeCache>
                  <c:ptCount val="28"/>
                  <c:pt idx="0">
                    <c:v>Walmart Nm Corp</c:v>
                  </c:pt>
                  <c:pt idx="1">
                    <c:v>Walmart Div1 Corp</c:v>
                  </c:pt>
                  <c:pt idx="2">
                    <c:v>Walmart Sc Cor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871310030971"/>
        <c:crossBetween val="midCat"/>
      </c:valAx>
      <c:valAx>
        <c:axId val="1011451359"/>
        <c:scaling>
          <c:orientation val="minMax"/>
          <c:max val="0.80231999999999992"/>
          <c:min val="3.1040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87696692918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D2FB8F6-7F19-4EF2-80CB-128F63854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16170EB-E87C-4FCD-A6F6-1F405ECF5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549FFE5-EB2F-42BD-9DBE-D140C194E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A6CCDF-F10B-4E0F-A3BF-312E64123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A9D376F9-12A2-42D4-A0FB-ED8637ADF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FD0B479C-EEAC-4825-BA02-9793DA910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7F41E37-700F-457A-B122-96E60876C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D574D97-C151-469F-B262-C0A51A8ED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35110000000000002</c:v>
                </c:pt>
                <c:pt idx="1">
                  <c:v>0.35809999999999997</c:v>
                </c:pt>
                <c:pt idx="2">
                  <c:v>0.38779999999999998</c:v>
                </c:pt>
              </c:numCache>
            </c:numRef>
          </c:xVal>
          <c:yVal>
            <c:numRef>
              <c:f>Sheet1!$B$2:$B$4</c:f>
              <c:numCache>
                <c:formatCode>General</c:formatCode>
                <c:ptCount val="3"/>
                <c:pt idx="0">
                  <c:v>0.43180000000000002</c:v>
                </c:pt>
                <c:pt idx="1">
                  <c:v>0.436</c:v>
                </c:pt>
                <c:pt idx="2">
                  <c:v>0.45319999999999999</c:v>
                </c:pt>
              </c:numCache>
            </c:numRef>
          </c:yVal>
          <c:bubbleSize>
            <c:numRef>
              <c:f>Sheet1!$C$2:$C$4</c:f>
              <c:numCache>
                <c:formatCode>General</c:formatCode>
                <c:ptCount val="3"/>
                <c:pt idx="0">
                  <c:v>1299025.53</c:v>
                </c:pt>
                <c:pt idx="1">
                  <c:v>1309446.5603</c:v>
                </c:pt>
                <c:pt idx="2">
                  <c:v>16442909.691900009</c:v>
                </c:pt>
              </c:numCache>
            </c:numRef>
          </c:bubbleSize>
          <c:bubble3D val="0"/>
          <c:extLst>
            <c:ext xmlns:c15="http://schemas.microsoft.com/office/drawing/2012/chart" uri="{02D57815-91ED-43cb-92C2-25804820EDAC}">
              <c15:datalabelsRange>
                <c15:f>Sheet1!$E$2:$E$29</c15:f>
                <c15:dlblRangeCache>
                  <c:ptCount val="28"/>
                  <c:pt idx="0">
                    <c:v>Walmart Nm Corp</c:v>
                  </c:pt>
                  <c:pt idx="1">
                    <c:v>Walmart Div1 Corp</c:v>
                  </c:pt>
                  <c:pt idx="2">
                    <c:v>Walmart Sc Cor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863635748583"/>
        <c:crossBetween val="midCat"/>
      </c:valAx>
      <c:valAx>
        <c:axId val="1011451359"/>
        <c:scaling>
          <c:orientation val="minMax"/>
          <c:max val="0.90383999999999998"/>
          <c:min val="0.1054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32562456003695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47" y="1387069"/>
            <a:ext cx="2128292" cy="169438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1450"/>
            <a:ext cx="2622359" cy="128025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47" y="3081450"/>
            <a:ext cx="2128292" cy="128025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59" cy="169438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533131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1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100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66836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242" y="1387069"/>
            <a:ext cx="1901397" cy="1719443"/>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512"/>
            <a:ext cx="2849254" cy="1255197"/>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242" y="3106512"/>
            <a:ext cx="1901397" cy="125519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54" cy="171944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416217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5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89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23629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36794" y="1387069"/>
            <a:ext cx="3590845" cy="190086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930"/>
            <a:ext cx="1159806" cy="107377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36794" y="3287930"/>
            <a:ext cx="3590845" cy="107377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59806" cy="190086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03041926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9845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19487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7895" y="1387069"/>
            <a:ext cx="3559744" cy="188911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6180"/>
            <a:ext cx="1190907" cy="108552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7895" y="3276180"/>
            <a:ext cx="3559744" cy="108552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90907" cy="188911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4237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6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95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06608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5227" y="1387069"/>
            <a:ext cx="3632412" cy="1914199"/>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268"/>
            <a:ext cx="1118239" cy="1060441"/>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5227" y="3301268"/>
            <a:ext cx="3632412" cy="106044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18239" cy="191419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7089097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2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5688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823488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0400" y="1387069"/>
            <a:ext cx="3567239" cy="189164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8713"/>
            <a:ext cx="1183412" cy="108299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0400" y="3278713"/>
            <a:ext cx="3567239" cy="108299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3412" cy="189164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050319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87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220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89823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3406" y="1387069"/>
            <a:ext cx="3944233" cy="1975916"/>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2985"/>
            <a:ext cx="806418" cy="998724"/>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3406" y="3362985"/>
            <a:ext cx="3944233" cy="99872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06418" cy="197591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4801513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2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450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18304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02202" y="1387069"/>
            <a:ext cx="3925437" cy="1961289"/>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8358"/>
            <a:ext cx="825214" cy="1013351"/>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02202" y="3348358"/>
            <a:ext cx="3925437" cy="101335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25214" cy="196128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2789048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483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638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2625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2129" y="1387069"/>
            <a:ext cx="3975510" cy="1985596"/>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2665"/>
            <a:ext cx="775141" cy="989044"/>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2129" y="3372665"/>
            <a:ext cx="3975510" cy="98904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5141" cy="198559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93795177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72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137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77366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97198" y="1387069"/>
            <a:ext cx="3930441" cy="1963962"/>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51031"/>
            <a:ext cx="820210" cy="1010678"/>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97198" y="3351031"/>
            <a:ext cx="3930441" cy="1010678"/>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20210" cy="1963962"/>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5231191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5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5885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25097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16329" y="1387069"/>
            <a:ext cx="3711310" cy="1611429"/>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8498"/>
            <a:ext cx="1039341" cy="1363211"/>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16329" y="2998498"/>
            <a:ext cx="3711310" cy="136321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39341" cy="161142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9933640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84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779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31314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385" y="1387069"/>
            <a:ext cx="2382254" cy="168830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69"/>
            <a:ext cx="2368397" cy="128634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385" y="3075369"/>
            <a:ext cx="2382254" cy="128634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397" cy="168830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519994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70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02499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28803" y="1387069"/>
            <a:ext cx="3698836" cy="1620786"/>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07855"/>
            <a:ext cx="1051815" cy="1353854"/>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28803" y="3007855"/>
            <a:ext cx="3698836" cy="135385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51815" cy="162078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9175814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07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904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59139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51803" y="1387069"/>
            <a:ext cx="3675836" cy="1590365"/>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434"/>
            <a:ext cx="1074815" cy="1384275"/>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51803" y="2977434"/>
            <a:ext cx="3675836" cy="138427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74815" cy="159036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719775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7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134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19508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56437" y="1387069"/>
            <a:ext cx="3671202" cy="1577323"/>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4392"/>
            <a:ext cx="1079449" cy="1397317"/>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56437" y="2964392"/>
            <a:ext cx="3671202" cy="139731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79449" cy="157732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87999806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43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180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17014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1010" y="1387069"/>
            <a:ext cx="2886629" cy="1522438"/>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9507"/>
            <a:ext cx="1864022" cy="1452202"/>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1010" y="2909507"/>
            <a:ext cx="2886629" cy="1452202"/>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4022" cy="1522438"/>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145048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9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26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02112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0570" y="1387069"/>
            <a:ext cx="2887069" cy="152910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69"/>
            <a:ext cx="1863582" cy="144554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0570" y="2916169"/>
            <a:ext cx="2887069" cy="144554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3582" cy="152910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9495731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1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22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892302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0918" y="1387069"/>
            <a:ext cx="2866721" cy="152890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5969"/>
            <a:ext cx="1883930" cy="144574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0918" y="2915969"/>
            <a:ext cx="2866721" cy="144574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83930" cy="152890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233178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59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225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325489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9075" y="1387069"/>
            <a:ext cx="2888564" cy="1517565"/>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4634"/>
            <a:ext cx="1862087" cy="1457075"/>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9075" y="2904634"/>
            <a:ext cx="2888564" cy="145707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2087" cy="151756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63417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46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07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80469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73303" y="1387069"/>
            <a:ext cx="3654336" cy="152143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8500"/>
            <a:ext cx="1096315" cy="145320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73303" y="2908500"/>
            <a:ext cx="3654336" cy="145320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96315" cy="152143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3264606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85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349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07953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7273" y="1387069"/>
            <a:ext cx="3630366" cy="149528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2350"/>
            <a:ext cx="1120285" cy="147935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7273" y="2882350"/>
            <a:ext cx="3630366" cy="147935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20285" cy="149528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1488424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823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5893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76772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25258" y="1387069"/>
            <a:ext cx="3702381" cy="1559969"/>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7038"/>
            <a:ext cx="1048270" cy="1414671"/>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25258" y="2947038"/>
            <a:ext cx="3702381" cy="141467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48270" cy="155996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232191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70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8691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66564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47231" y="1387069"/>
            <a:ext cx="3580408" cy="172649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559"/>
            <a:ext cx="1170243" cy="124815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47231" y="3113559"/>
            <a:ext cx="3580408" cy="124815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0243" cy="172649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1763280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088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8637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04906" y="1387069"/>
            <a:ext cx="3622733" cy="1488069"/>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5138"/>
            <a:ext cx="1127918" cy="1486571"/>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04906" y="2875138"/>
            <a:ext cx="3622733" cy="148657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27918" cy="148806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2737209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51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665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60118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5531" y="1387069"/>
            <a:ext cx="1902108" cy="171977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43"/>
            <a:ext cx="2848543" cy="125486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5531" y="3106843"/>
            <a:ext cx="1902108" cy="125486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8543" cy="171977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4180455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1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941971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190" y="1387069"/>
            <a:ext cx="1901449" cy="1719737"/>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202" cy="1254903"/>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190" y="3106806"/>
            <a:ext cx="1901449" cy="125490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02" cy="171973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90457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8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824242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322" y="1387069"/>
            <a:ext cx="1901317" cy="1719737"/>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334" cy="1254903"/>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322" y="3106806"/>
            <a:ext cx="1901317" cy="125490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334" cy="171973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715675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97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77349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5927" y="1387069"/>
            <a:ext cx="1901712" cy="1719725"/>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794"/>
            <a:ext cx="2848939" cy="1254915"/>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5927" y="3106794"/>
            <a:ext cx="1901712" cy="125491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8939" cy="171972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5591189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58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21365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379" y="1387069"/>
            <a:ext cx="2365260" cy="1666292"/>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53361"/>
            <a:ext cx="2385391" cy="1308348"/>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379" y="3053361"/>
            <a:ext cx="2365260" cy="1308348"/>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391" cy="1666292"/>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4454262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533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40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227072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4900" y="1387069"/>
            <a:ext cx="2372739" cy="1656525"/>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3594"/>
            <a:ext cx="2377912" cy="1318115"/>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4900" y="3043594"/>
            <a:ext cx="2372739" cy="131811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7912" cy="1656525"/>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3662744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35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65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68108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702" y="1387069"/>
            <a:ext cx="2364937" cy="165465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1719"/>
            <a:ext cx="2385714" cy="131999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702" y="3041719"/>
            <a:ext cx="2364937" cy="131999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714" cy="165465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8212866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17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43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874978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7313" y="1387069"/>
            <a:ext cx="2360326" cy="1653188"/>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257"/>
            <a:ext cx="2390325" cy="1321452"/>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7313" y="3040257"/>
            <a:ext cx="2360326" cy="1321452"/>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90325" cy="1653188"/>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4923677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02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8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7171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92841" y="1387069"/>
            <a:ext cx="3234798" cy="1716068"/>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7"/>
            <a:ext cx="1515853" cy="1258572"/>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92841" y="3103137"/>
            <a:ext cx="3234798" cy="1258572"/>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15853" cy="1716068"/>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62840804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5449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67307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190" y="1387069"/>
            <a:ext cx="1901449" cy="1719737"/>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202" cy="1254903"/>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190" y="3106806"/>
            <a:ext cx="1901449" cy="125490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02" cy="171973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717742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784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8132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23" y="1387069"/>
            <a:ext cx="2128316" cy="1689201"/>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6270"/>
            <a:ext cx="2622335" cy="1285439"/>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23" y="3076270"/>
            <a:ext cx="2128316" cy="1285439"/>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35" cy="1689201"/>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180690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62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09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75714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512" y="1387069"/>
            <a:ext cx="2382127" cy="1688270"/>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39"/>
            <a:ext cx="2368524" cy="1286370"/>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512" y="3075339"/>
            <a:ext cx="2382127" cy="128637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524" cy="1688270"/>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860319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716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08416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48328" y="1387069"/>
            <a:ext cx="3579311" cy="1684366"/>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1435"/>
            <a:ext cx="1171340" cy="1290274"/>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48328" y="3071435"/>
            <a:ext cx="3579311" cy="1290274"/>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1340" cy="1684366"/>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09174061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0998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15447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94251" y="1387069"/>
            <a:ext cx="3233388" cy="1688813"/>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882"/>
            <a:ext cx="1517263" cy="1285827"/>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94251" y="3075882"/>
            <a:ext cx="3233388" cy="1285827"/>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17263" cy="1688813"/>
          </a:xfrm>
          <a:prstGeom prst="rect">
            <a:avLst/>
          </a:prstGeom>
          <a:solidFill>
            <a:srgbClr val="7ECA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502959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8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5590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404337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7</TotalTime>
  <Words>3340</Words>
  <Application>Microsoft Office PowerPoint</Application>
  <PresentationFormat>On-screen Show (16:9)</PresentationFormat>
  <Paragraphs>1086</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1</cp:revision>
  <dcterms:created xsi:type="dcterms:W3CDTF">2024-07-05T15:31:56Z</dcterms:created>
  <dcterms:modified xsi:type="dcterms:W3CDTF">2025-08-20T15: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